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1.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handoutMasterIdLst>
    <p:handoutMasterId r:id="rId22"/>
  </p:handoutMasterIdLst>
  <p:sldIdLst>
    <p:sldId id="264" r:id="rId5"/>
    <p:sldId id="256" r:id="rId6"/>
    <p:sldId id="257"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66"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D77CAC4-D8DC-41E6-B248-59C42C4059D5}">
          <p14:sldIdLst>
            <p14:sldId id="264"/>
          </p14:sldIdLst>
        </p14:section>
        <p14:section name="Contents" id="{06F32CE2-2CE3-41E3-AE58-012F803CAD89}">
          <p14:sldIdLst>
            <p14:sldId id="256"/>
            <p14:sldId id="257"/>
            <p14:sldId id="267"/>
            <p14:sldId id="268"/>
            <p14:sldId id="269"/>
            <p14:sldId id="270"/>
            <p14:sldId id="271"/>
            <p14:sldId id="272"/>
            <p14:sldId id="273"/>
            <p14:sldId id="274"/>
            <p14:sldId id="275"/>
            <p14:sldId id="276"/>
            <p14:sldId id="277"/>
            <p14:sldId id="278"/>
          </p14:sldIdLst>
        </p14:section>
        <p14:section name="Closing" id="{ACD9D90D-98C2-42EB-902A-40830AA589F0}">
          <p14:sldIdLst>
            <p14:sldId id="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13777"/>
    <a:srgbClr val="0A1A5C"/>
    <a:srgbClr val="000099"/>
    <a:srgbClr val="000000"/>
    <a:srgbClr val="002060"/>
    <a:srgbClr val="407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0FBBBC-0091-4363-8F8F-DB6CFE17D07A}" v="27" dt="2024-11-16T15:04:48.5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52" autoAdjust="0"/>
  </p:normalViewPr>
  <p:slideViewPr>
    <p:cSldViewPr snapToGrid="0" showGuides="1">
      <p:cViewPr varScale="1">
        <p:scale>
          <a:sx n="106" d="100"/>
          <a:sy n="106" d="100"/>
        </p:scale>
        <p:origin x="792"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79" d="100"/>
          <a:sy n="79" d="100"/>
        </p:scale>
        <p:origin x="3774"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SELLE JACQUELINE DOS SANTOS" userId="4b7eb9a6-35ae-4475-908c-798858f5303a" providerId="ADAL" clId="{800FBBBC-0091-4363-8F8F-DB6CFE17D07A}"/>
    <pc:docChg chg="undo custSel addSld delSld modSld modSection">
      <pc:chgData name="GISELLE JACQUELINE DOS SANTOS" userId="4b7eb9a6-35ae-4475-908c-798858f5303a" providerId="ADAL" clId="{800FBBBC-0091-4363-8F8F-DB6CFE17D07A}" dt="2024-11-16T15:33:28.377" v="4840" actId="20577"/>
      <pc:docMkLst>
        <pc:docMk/>
      </pc:docMkLst>
      <pc:sldChg chg="addSp delSp modSp mod modClrScheme chgLayout">
        <pc:chgData name="GISELLE JACQUELINE DOS SANTOS" userId="4b7eb9a6-35ae-4475-908c-798858f5303a" providerId="ADAL" clId="{800FBBBC-0091-4363-8F8F-DB6CFE17D07A}" dt="2024-11-16T15:07:00.246" v="4822" actId="207"/>
        <pc:sldMkLst>
          <pc:docMk/>
          <pc:sldMk cId="0" sldId="256"/>
        </pc:sldMkLst>
        <pc:spChg chg="mod ord">
          <ac:chgData name="GISELLE JACQUELINE DOS SANTOS" userId="4b7eb9a6-35ae-4475-908c-798858f5303a" providerId="ADAL" clId="{800FBBBC-0091-4363-8F8F-DB6CFE17D07A}" dt="2024-11-16T15:07:00.246" v="4822" actId="207"/>
          <ac:spMkLst>
            <pc:docMk/>
            <pc:sldMk cId="0" sldId="256"/>
            <ac:spMk id="2" creationId="{00000000-0000-0000-0000-000000000000}"/>
          </ac:spMkLst>
        </pc:spChg>
        <pc:spChg chg="mod ord">
          <ac:chgData name="GISELLE JACQUELINE DOS SANTOS" userId="4b7eb9a6-35ae-4475-908c-798858f5303a" providerId="ADAL" clId="{800FBBBC-0091-4363-8F8F-DB6CFE17D07A}" dt="2024-11-15T16:32:32.623" v="2042" actId="115"/>
          <ac:spMkLst>
            <pc:docMk/>
            <pc:sldMk cId="0" sldId="256"/>
            <ac:spMk id="3" creationId="{00000000-0000-0000-0000-000000000000}"/>
          </ac:spMkLst>
        </pc:spChg>
        <pc:spChg chg="add mod ord">
          <ac:chgData name="GISELLE JACQUELINE DOS SANTOS" userId="4b7eb9a6-35ae-4475-908c-798858f5303a" providerId="ADAL" clId="{800FBBBC-0091-4363-8F8F-DB6CFE17D07A}" dt="2024-11-15T14:07:36.016" v="241" actId="20577"/>
          <ac:spMkLst>
            <pc:docMk/>
            <pc:sldMk cId="0" sldId="256"/>
            <ac:spMk id="4" creationId="{4E1A71E4-8AC2-4FCF-CDBA-BDDBFFD6CF7F}"/>
          </ac:spMkLst>
        </pc:spChg>
        <pc:spChg chg="add del mod ord">
          <ac:chgData name="GISELLE JACQUELINE DOS SANTOS" userId="4b7eb9a6-35ae-4475-908c-798858f5303a" providerId="ADAL" clId="{800FBBBC-0091-4363-8F8F-DB6CFE17D07A}" dt="2024-11-15T14:45:01.836" v="907" actId="478"/>
          <ac:spMkLst>
            <pc:docMk/>
            <pc:sldMk cId="0" sldId="256"/>
            <ac:spMk id="5" creationId="{13894FD7-9CAC-D811-FDF8-F9FE1CD0A41F}"/>
          </ac:spMkLst>
        </pc:spChg>
        <pc:spChg chg="add del mod ord">
          <ac:chgData name="GISELLE JACQUELINE DOS SANTOS" userId="4b7eb9a6-35ae-4475-908c-798858f5303a" providerId="ADAL" clId="{800FBBBC-0091-4363-8F8F-DB6CFE17D07A}" dt="2024-11-15T14:45:12.013" v="908" actId="478"/>
          <ac:spMkLst>
            <pc:docMk/>
            <pc:sldMk cId="0" sldId="256"/>
            <ac:spMk id="6" creationId="{6C97F657-D534-76B5-7A16-0DF270C306B2}"/>
          </ac:spMkLst>
        </pc:spChg>
        <pc:spChg chg="add del mod ord">
          <ac:chgData name="GISELLE JACQUELINE DOS SANTOS" userId="4b7eb9a6-35ae-4475-908c-798858f5303a" providerId="ADAL" clId="{800FBBBC-0091-4363-8F8F-DB6CFE17D07A}" dt="2024-11-15T14:45:16.400" v="909" actId="478"/>
          <ac:spMkLst>
            <pc:docMk/>
            <pc:sldMk cId="0" sldId="256"/>
            <ac:spMk id="7" creationId="{F906E526-F000-A387-DA84-F71B1AC4D5DD}"/>
          </ac:spMkLst>
        </pc:spChg>
        <pc:spChg chg="add mod ord">
          <ac:chgData name="GISELLE JACQUELINE DOS SANTOS" userId="4b7eb9a6-35ae-4475-908c-798858f5303a" providerId="ADAL" clId="{800FBBBC-0091-4363-8F8F-DB6CFE17D07A}" dt="2024-11-16T13:38:34.218" v="2195" actId="20577"/>
          <ac:spMkLst>
            <pc:docMk/>
            <pc:sldMk cId="0" sldId="256"/>
            <ac:spMk id="8" creationId="{A6CCC064-10E3-6525-6D01-E891A8A06659}"/>
          </ac:spMkLst>
        </pc:spChg>
      </pc:sldChg>
      <pc:sldChg chg="addSp delSp modSp mod modClrScheme chgLayout">
        <pc:chgData name="GISELLE JACQUELINE DOS SANTOS" userId="4b7eb9a6-35ae-4475-908c-798858f5303a" providerId="ADAL" clId="{800FBBBC-0091-4363-8F8F-DB6CFE17D07A}" dt="2024-11-16T15:33:28.377" v="4840" actId="20577"/>
        <pc:sldMkLst>
          <pc:docMk/>
          <pc:sldMk cId="0" sldId="257"/>
        </pc:sldMkLst>
        <pc:spChg chg="mod ord">
          <ac:chgData name="GISELLE JACQUELINE DOS SANTOS" userId="4b7eb9a6-35ae-4475-908c-798858f5303a" providerId="ADAL" clId="{800FBBBC-0091-4363-8F8F-DB6CFE17D07A}" dt="2024-11-16T15:06:56.635" v="4821" actId="207"/>
          <ac:spMkLst>
            <pc:docMk/>
            <pc:sldMk cId="0" sldId="257"/>
            <ac:spMk id="2" creationId="{00000000-0000-0000-0000-000000000000}"/>
          </ac:spMkLst>
        </pc:spChg>
        <pc:spChg chg="mod ord">
          <ac:chgData name="GISELLE JACQUELINE DOS SANTOS" userId="4b7eb9a6-35ae-4475-908c-798858f5303a" providerId="ADAL" clId="{800FBBBC-0091-4363-8F8F-DB6CFE17D07A}" dt="2024-11-16T15:33:28.377" v="4840" actId="20577"/>
          <ac:spMkLst>
            <pc:docMk/>
            <pc:sldMk cId="0" sldId="257"/>
            <ac:spMk id="3" creationId="{00000000-0000-0000-0000-000000000000}"/>
          </ac:spMkLst>
        </pc:spChg>
        <pc:spChg chg="add mod ord">
          <ac:chgData name="GISELLE JACQUELINE DOS SANTOS" userId="4b7eb9a6-35ae-4475-908c-798858f5303a" providerId="ADAL" clId="{800FBBBC-0091-4363-8F8F-DB6CFE17D07A}" dt="2024-11-15T15:07:28.848" v="1168" actId="6549"/>
          <ac:spMkLst>
            <pc:docMk/>
            <pc:sldMk cId="0" sldId="257"/>
            <ac:spMk id="4" creationId="{045E9F15-16C7-DE01-0457-47A2FD4306F9}"/>
          </ac:spMkLst>
        </pc:spChg>
        <pc:spChg chg="add del mod ord">
          <ac:chgData name="GISELLE JACQUELINE DOS SANTOS" userId="4b7eb9a6-35ae-4475-908c-798858f5303a" providerId="ADAL" clId="{800FBBBC-0091-4363-8F8F-DB6CFE17D07A}" dt="2024-11-16T13:20:48.042" v="2178" actId="478"/>
          <ac:spMkLst>
            <pc:docMk/>
            <pc:sldMk cId="0" sldId="257"/>
            <ac:spMk id="5" creationId="{02B3204F-DA25-8A3A-FFF6-A16CEEF936BA}"/>
          </ac:spMkLst>
        </pc:spChg>
        <pc:spChg chg="add del mod ord">
          <ac:chgData name="GISELLE JACQUELINE DOS SANTOS" userId="4b7eb9a6-35ae-4475-908c-798858f5303a" providerId="ADAL" clId="{800FBBBC-0091-4363-8F8F-DB6CFE17D07A}" dt="2024-11-16T13:20:50.580" v="2179" actId="478"/>
          <ac:spMkLst>
            <pc:docMk/>
            <pc:sldMk cId="0" sldId="257"/>
            <ac:spMk id="6" creationId="{700F714B-CFEA-002F-E501-CECA32FCFA81}"/>
          </ac:spMkLst>
        </pc:spChg>
        <pc:spChg chg="add del mod ord">
          <ac:chgData name="GISELLE JACQUELINE DOS SANTOS" userId="4b7eb9a6-35ae-4475-908c-798858f5303a" providerId="ADAL" clId="{800FBBBC-0091-4363-8F8F-DB6CFE17D07A}" dt="2024-11-16T13:20:50.580" v="2179" actId="478"/>
          <ac:spMkLst>
            <pc:docMk/>
            <pc:sldMk cId="0" sldId="257"/>
            <ac:spMk id="7" creationId="{FEE9EDDF-746B-BD2E-E12B-EFFF4FEB2F70}"/>
          </ac:spMkLst>
        </pc:spChg>
        <pc:spChg chg="add mod ord">
          <ac:chgData name="GISELLE JACQUELINE DOS SANTOS" userId="4b7eb9a6-35ae-4475-908c-798858f5303a" providerId="ADAL" clId="{800FBBBC-0091-4363-8F8F-DB6CFE17D07A}" dt="2024-11-16T13:45:09.693" v="2198" actId="14100"/>
          <ac:spMkLst>
            <pc:docMk/>
            <pc:sldMk cId="0" sldId="257"/>
            <ac:spMk id="8" creationId="{9485DBD3-EABC-311B-D82C-9967803F1D59}"/>
          </ac:spMkLst>
        </pc:spChg>
      </pc:sldChg>
      <pc:sldChg chg="del">
        <pc:chgData name="GISELLE JACQUELINE DOS SANTOS" userId="4b7eb9a6-35ae-4475-908c-798858f5303a" providerId="ADAL" clId="{800FBBBC-0091-4363-8F8F-DB6CFE17D07A}" dt="2024-11-15T16:06:01.812" v="1679" actId="47"/>
        <pc:sldMkLst>
          <pc:docMk/>
          <pc:sldMk cId="0" sldId="258"/>
        </pc:sldMkLst>
      </pc:sldChg>
      <pc:sldChg chg="del">
        <pc:chgData name="GISELLE JACQUELINE DOS SANTOS" userId="4b7eb9a6-35ae-4475-908c-798858f5303a" providerId="ADAL" clId="{800FBBBC-0091-4363-8F8F-DB6CFE17D07A}" dt="2024-11-15T16:06:03.172" v="1681" actId="47"/>
        <pc:sldMkLst>
          <pc:docMk/>
          <pc:sldMk cId="0" sldId="259"/>
        </pc:sldMkLst>
      </pc:sldChg>
      <pc:sldChg chg="del">
        <pc:chgData name="GISELLE JACQUELINE DOS SANTOS" userId="4b7eb9a6-35ae-4475-908c-798858f5303a" providerId="ADAL" clId="{800FBBBC-0091-4363-8F8F-DB6CFE17D07A}" dt="2024-11-15T16:06:03.617" v="1682" actId="47"/>
        <pc:sldMkLst>
          <pc:docMk/>
          <pc:sldMk cId="0" sldId="260"/>
        </pc:sldMkLst>
      </pc:sldChg>
      <pc:sldChg chg="del">
        <pc:chgData name="GISELLE JACQUELINE DOS SANTOS" userId="4b7eb9a6-35ae-4475-908c-798858f5303a" providerId="ADAL" clId="{800FBBBC-0091-4363-8F8F-DB6CFE17D07A}" dt="2024-11-15T16:06:04.075" v="1683" actId="47"/>
        <pc:sldMkLst>
          <pc:docMk/>
          <pc:sldMk cId="0" sldId="261"/>
        </pc:sldMkLst>
      </pc:sldChg>
      <pc:sldChg chg="del">
        <pc:chgData name="GISELLE JACQUELINE DOS SANTOS" userId="4b7eb9a6-35ae-4475-908c-798858f5303a" providerId="ADAL" clId="{800FBBBC-0091-4363-8F8F-DB6CFE17D07A}" dt="2024-11-15T16:06:04.369" v="1684" actId="47"/>
        <pc:sldMkLst>
          <pc:docMk/>
          <pc:sldMk cId="0" sldId="262"/>
        </pc:sldMkLst>
      </pc:sldChg>
      <pc:sldChg chg="del">
        <pc:chgData name="GISELLE JACQUELINE DOS SANTOS" userId="4b7eb9a6-35ae-4475-908c-798858f5303a" providerId="ADAL" clId="{800FBBBC-0091-4363-8F8F-DB6CFE17D07A}" dt="2024-11-15T16:06:04.651" v="1685" actId="47"/>
        <pc:sldMkLst>
          <pc:docMk/>
          <pc:sldMk cId="0" sldId="263"/>
        </pc:sldMkLst>
      </pc:sldChg>
      <pc:sldChg chg="addSp delSp modSp mod modClrScheme chgLayout">
        <pc:chgData name="GISELLE JACQUELINE DOS SANTOS" userId="4b7eb9a6-35ae-4475-908c-798858f5303a" providerId="ADAL" clId="{800FBBBC-0091-4363-8F8F-DB6CFE17D07A}" dt="2024-11-15T16:38:50.150" v="2081" actId="1076"/>
        <pc:sldMkLst>
          <pc:docMk/>
          <pc:sldMk cId="3919299545" sldId="264"/>
        </pc:sldMkLst>
        <pc:spChg chg="add del mod ord">
          <ac:chgData name="GISELLE JACQUELINE DOS SANTOS" userId="4b7eb9a6-35ae-4475-908c-798858f5303a" providerId="ADAL" clId="{800FBBBC-0091-4363-8F8F-DB6CFE17D07A}" dt="2024-11-15T14:05:14.150" v="26" actId="700"/>
          <ac:spMkLst>
            <pc:docMk/>
            <pc:sldMk cId="3919299545" sldId="264"/>
            <ac:spMk id="2" creationId="{907ED92A-B5F9-58AD-67CD-642FAFDEF95C}"/>
          </ac:spMkLst>
        </pc:spChg>
        <pc:spChg chg="add del mod ord">
          <ac:chgData name="GISELLE JACQUELINE DOS SANTOS" userId="4b7eb9a6-35ae-4475-908c-798858f5303a" providerId="ADAL" clId="{800FBBBC-0091-4363-8F8F-DB6CFE17D07A}" dt="2024-11-15T14:05:14.150" v="26" actId="700"/>
          <ac:spMkLst>
            <pc:docMk/>
            <pc:sldMk cId="3919299545" sldId="264"/>
            <ac:spMk id="3" creationId="{E495CFE8-B09B-C0AD-3B0F-7509CDF6E90E}"/>
          </ac:spMkLst>
        </pc:spChg>
        <pc:spChg chg="add del mod ord">
          <ac:chgData name="GISELLE JACQUELINE DOS SANTOS" userId="4b7eb9a6-35ae-4475-908c-798858f5303a" providerId="ADAL" clId="{800FBBBC-0091-4363-8F8F-DB6CFE17D07A}" dt="2024-11-15T14:05:14.150" v="26" actId="700"/>
          <ac:spMkLst>
            <pc:docMk/>
            <pc:sldMk cId="3919299545" sldId="264"/>
            <ac:spMk id="4" creationId="{1CD712A1-E199-BF80-8EDB-0CC478234EF6}"/>
          </ac:spMkLst>
        </pc:spChg>
        <pc:spChg chg="add del mod ord">
          <ac:chgData name="GISELLE JACQUELINE DOS SANTOS" userId="4b7eb9a6-35ae-4475-908c-798858f5303a" providerId="ADAL" clId="{800FBBBC-0091-4363-8F8F-DB6CFE17D07A}" dt="2024-11-15T14:05:14.150" v="26" actId="700"/>
          <ac:spMkLst>
            <pc:docMk/>
            <pc:sldMk cId="3919299545" sldId="264"/>
            <ac:spMk id="5" creationId="{46717D62-DE03-B378-12A7-554D244995C0}"/>
          </ac:spMkLst>
        </pc:spChg>
        <pc:spChg chg="del mod ord">
          <ac:chgData name="GISELLE JACQUELINE DOS SANTOS" userId="4b7eb9a6-35ae-4475-908c-798858f5303a" providerId="ADAL" clId="{800FBBBC-0091-4363-8F8F-DB6CFE17D07A}" dt="2024-11-15T14:05:10.740" v="25" actId="700"/>
          <ac:spMkLst>
            <pc:docMk/>
            <pc:sldMk cId="3919299545" sldId="264"/>
            <ac:spMk id="6" creationId="{44DCD33B-E0A8-B3C0-9D40-DAFDC53BE664}"/>
          </ac:spMkLst>
        </pc:spChg>
        <pc:spChg chg="del mod ord">
          <ac:chgData name="GISELLE JACQUELINE DOS SANTOS" userId="4b7eb9a6-35ae-4475-908c-798858f5303a" providerId="ADAL" clId="{800FBBBC-0091-4363-8F8F-DB6CFE17D07A}" dt="2024-11-15T14:05:10.740" v="25" actId="700"/>
          <ac:spMkLst>
            <pc:docMk/>
            <pc:sldMk cId="3919299545" sldId="264"/>
            <ac:spMk id="7" creationId="{147AA40D-0742-D95D-9459-6DAFCFEACB8A}"/>
          </ac:spMkLst>
        </pc:spChg>
        <pc:spChg chg="add del mod ord">
          <ac:chgData name="GISELLE JACQUELINE DOS SANTOS" userId="4b7eb9a6-35ae-4475-908c-798858f5303a" providerId="ADAL" clId="{800FBBBC-0091-4363-8F8F-DB6CFE17D07A}" dt="2024-11-15T14:05:14.150" v="26" actId="700"/>
          <ac:spMkLst>
            <pc:docMk/>
            <pc:sldMk cId="3919299545" sldId="264"/>
            <ac:spMk id="8" creationId="{86EA8F65-6133-7B1A-D202-69075D5C981E}"/>
          </ac:spMkLst>
        </pc:spChg>
        <pc:spChg chg="add del mod ord">
          <ac:chgData name="GISELLE JACQUELINE DOS SANTOS" userId="4b7eb9a6-35ae-4475-908c-798858f5303a" providerId="ADAL" clId="{800FBBBC-0091-4363-8F8F-DB6CFE17D07A}" dt="2024-11-15T14:05:14.150" v="26" actId="700"/>
          <ac:spMkLst>
            <pc:docMk/>
            <pc:sldMk cId="3919299545" sldId="264"/>
            <ac:spMk id="9" creationId="{2E59D759-37E2-3DD2-4C37-BD923BC40937}"/>
          </ac:spMkLst>
        </pc:spChg>
        <pc:spChg chg="del mod ord">
          <ac:chgData name="GISELLE JACQUELINE DOS SANTOS" userId="4b7eb9a6-35ae-4475-908c-798858f5303a" providerId="ADAL" clId="{800FBBBC-0091-4363-8F8F-DB6CFE17D07A}" dt="2024-11-15T14:05:10.740" v="25" actId="700"/>
          <ac:spMkLst>
            <pc:docMk/>
            <pc:sldMk cId="3919299545" sldId="264"/>
            <ac:spMk id="10" creationId="{C4CC0E3E-7462-83C4-10CC-4FC6123DE4F9}"/>
          </ac:spMkLst>
        </pc:spChg>
        <pc:spChg chg="del mod ord">
          <ac:chgData name="GISELLE JACQUELINE DOS SANTOS" userId="4b7eb9a6-35ae-4475-908c-798858f5303a" providerId="ADAL" clId="{800FBBBC-0091-4363-8F8F-DB6CFE17D07A}" dt="2024-11-15T14:05:10.740" v="25" actId="700"/>
          <ac:spMkLst>
            <pc:docMk/>
            <pc:sldMk cId="3919299545" sldId="264"/>
            <ac:spMk id="11" creationId="{28A75BF4-7D31-3063-1DE0-25E841525813}"/>
          </ac:spMkLst>
        </pc:spChg>
        <pc:spChg chg="del mod ord">
          <ac:chgData name="GISELLE JACQUELINE DOS SANTOS" userId="4b7eb9a6-35ae-4475-908c-798858f5303a" providerId="ADAL" clId="{800FBBBC-0091-4363-8F8F-DB6CFE17D07A}" dt="2024-11-15T14:05:10.740" v="25" actId="700"/>
          <ac:spMkLst>
            <pc:docMk/>
            <pc:sldMk cId="3919299545" sldId="264"/>
            <ac:spMk id="12" creationId="{AEE95EB3-9BE8-0E70-2100-90E25301FB6D}"/>
          </ac:spMkLst>
        </pc:spChg>
        <pc:spChg chg="del mod ord">
          <ac:chgData name="GISELLE JACQUELINE DOS SANTOS" userId="4b7eb9a6-35ae-4475-908c-798858f5303a" providerId="ADAL" clId="{800FBBBC-0091-4363-8F8F-DB6CFE17D07A}" dt="2024-11-15T14:05:10.740" v="25" actId="700"/>
          <ac:spMkLst>
            <pc:docMk/>
            <pc:sldMk cId="3919299545" sldId="264"/>
            <ac:spMk id="13" creationId="{D5487407-5BED-8FF3-A53D-13D8FA12DBFF}"/>
          </ac:spMkLst>
        </pc:spChg>
        <pc:spChg chg="add del mod ord">
          <ac:chgData name="GISELLE JACQUELINE DOS SANTOS" userId="4b7eb9a6-35ae-4475-908c-798858f5303a" providerId="ADAL" clId="{800FBBBC-0091-4363-8F8F-DB6CFE17D07A}" dt="2024-11-15T14:05:14.150" v="26" actId="700"/>
          <ac:spMkLst>
            <pc:docMk/>
            <pc:sldMk cId="3919299545" sldId="264"/>
            <ac:spMk id="14" creationId="{4DD6AC36-D6CD-88C3-148F-72580B860D0F}"/>
          </ac:spMkLst>
        </pc:spChg>
        <pc:spChg chg="add del mod ord">
          <ac:chgData name="GISELLE JACQUELINE DOS SANTOS" userId="4b7eb9a6-35ae-4475-908c-798858f5303a" providerId="ADAL" clId="{800FBBBC-0091-4363-8F8F-DB6CFE17D07A}" dt="2024-11-15T16:37:56.192" v="2046" actId="478"/>
          <ac:spMkLst>
            <pc:docMk/>
            <pc:sldMk cId="3919299545" sldId="264"/>
            <ac:spMk id="15" creationId="{F809D716-205D-2B08-5CB7-B0E7FF847424}"/>
          </ac:spMkLst>
        </pc:spChg>
        <pc:spChg chg="add del mod ord">
          <ac:chgData name="GISELLE JACQUELINE DOS SANTOS" userId="4b7eb9a6-35ae-4475-908c-798858f5303a" providerId="ADAL" clId="{800FBBBC-0091-4363-8F8F-DB6CFE17D07A}" dt="2024-11-15T14:05:54.471" v="102" actId="478"/>
          <ac:spMkLst>
            <pc:docMk/>
            <pc:sldMk cId="3919299545" sldId="264"/>
            <ac:spMk id="16" creationId="{272BDCE8-D0D5-841A-9763-9ED5E7E8346B}"/>
          </ac:spMkLst>
        </pc:spChg>
        <pc:spChg chg="add del mod ord">
          <ac:chgData name="GISELLE JACQUELINE DOS SANTOS" userId="4b7eb9a6-35ae-4475-908c-798858f5303a" providerId="ADAL" clId="{800FBBBC-0091-4363-8F8F-DB6CFE17D07A}" dt="2024-11-15T14:05:56.887" v="103" actId="478"/>
          <ac:spMkLst>
            <pc:docMk/>
            <pc:sldMk cId="3919299545" sldId="264"/>
            <ac:spMk id="17" creationId="{7AAC249C-E207-A236-6A6F-AEBD1F6E8612}"/>
          </ac:spMkLst>
        </pc:spChg>
        <pc:spChg chg="add del mod ord">
          <ac:chgData name="GISELLE JACQUELINE DOS SANTOS" userId="4b7eb9a6-35ae-4475-908c-798858f5303a" providerId="ADAL" clId="{800FBBBC-0091-4363-8F8F-DB6CFE17D07A}" dt="2024-11-15T14:06:16.158" v="121" actId="478"/>
          <ac:spMkLst>
            <pc:docMk/>
            <pc:sldMk cId="3919299545" sldId="264"/>
            <ac:spMk id="18" creationId="{9AC36EB8-BFB6-4602-DFE1-1EADEAECB6B1}"/>
          </ac:spMkLst>
        </pc:spChg>
        <pc:spChg chg="add mod ord">
          <ac:chgData name="GISELLE JACQUELINE DOS SANTOS" userId="4b7eb9a6-35ae-4475-908c-798858f5303a" providerId="ADAL" clId="{800FBBBC-0091-4363-8F8F-DB6CFE17D07A}" dt="2024-11-15T16:38:27.805" v="2055" actId="27636"/>
          <ac:spMkLst>
            <pc:docMk/>
            <pc:sldMk cId="3919299545" sldId="264"/>
            <ac:spMk id="19" creationId="{7CB1CD26-7184-E595-0B7E-B0F5F1301B50}"/>
          </ac:spMkLst>
        </pc:spChg>
        <pc:spChg chg="add mod ord">
          <ac:chgData name="GISELLE JACQUELINE DOS SANTOS" userId="4b7eb9a6-35ae-4475-908c-798858f5303a" providerId="ADAL" clId="{800FBBBC-0091-4363-8F8F-DB6CFE17D07A}" dt="2024-11-15T16:38:27.789" v="2054" actId="113"/>
          <ac:spMkLst>
            <pc:docMk/>
            <pc:sldMk cId="3919299545" sldId="264"/>
            <ac:spMk id="20" creationId="{11A03762-1441-7CF7-2D60-BD2703883F8E}"/>
          </ac:spMkLst>
        </pc:spChg>
        <pc:spChg chg="add mod">
          <ac:chgData name="GISELLE JACQUELINE DOS SANTOS" userId="4b7eb9a6-35ae-4475-908c-798858f5303a" providerId="ADAL" clId="{800FBBBC-0091-4363-8F8F-DB6CFE17D07A}" dt="2024-11-15T16:38:50.150" v="2081" actId="1076"/>
          <ac:spMkLst>
            <pc:docMk/>
            <pc:sldMk cId="3919299545" sldId="264"/>
            <ac:spMk id="21" creationId="{D442E7DD-58A8-025D-1543-D4E6239C3801}"/>
          </ac:spMkLst>
        </pc:spChg>
        <pc:picChg chg="add mod">
          <ac:chgData name="GISELLE JACQUELINE DOS SANTOS" userId="4b7eb9a6-35ae-4475-908c-798858f5303a" providerId="ADAL" clId="{800FBBBC-0091-4363-8F8F-DB6CFE17D07A}" dt="2024-11-15T16:38:04.268" v="2048" actId="14100"/>
          <ac:picMkLst>
            <pc:docMk/>
            <pc:sldMk cId="3919299545" sldId="264"/>
            <ac:picMk id="1026" creationId="{974F97F5-52F8-3E4D-8143-6DC7C070AD88}"/>
          </ac:picMkLst>
        </pc:picChg>
      </pc:sldChg>
      <pc:sldChg chg="addSp delSp modSp mod">
        <pc:chgData name="GISELLE JACQUELINE DOS SANTOS" userId="4b7eb9a6-35ae-4475-908c-798858f5303a" providerId="ADAL" clId="{800FBBBC-0091-4363-8F8F-DB6CFE17D07A}" dt="2024-11-16T15:05:48.629" v="4808" actId="1076"/>
        <pc:sldMkLst>
          <pc:docMk/>
          <pc:sldMk cId="3974070704" sldId="266"/>
        </pc:sldMkLst>
        <pc:spChg chg="add del mod">
          <ac:chgData name="GISELLE JACQUELINE DOS SANTOS" userId="4b7eb9a6-35ae-4475-908c-798858f5303a" providerId="ADAL" clId="{800FBBBC-0091-4363-8F8F-DB6CFE17D07A}" dt="2024-11-16T15:04:38.922" v="4776" actId="478"/>
          <ac:spMkLst>
            <pc:docMk/>
            <pc:sldMk cId="3974070704" sldId="266"/>
            <ac:spMk id="2" creationId="{DA328EC4-E3C9-30BA-486B-3EC1ABABD060}"/>
          </ac:spMkLst>
        </pc:spChg>
        <pc:spChg chg="del">
          <ac:chgData name="GISELLE JACQUELINE DOS SANTOS" userId="4b7eb9a6-35ae-4475-908c-798858f5303a" providerId="ADAL" clId="{800FBBBC-0091-4363-8F8F-DB6CFE17D07A}" dt="2024-11-15T16:45:36.373" v="2158" actId="478"/>
          <ac:spMkLst>
            <pc:docMk/>
            <pc:sldMk cId="3974070704" sldId="266"/>
            <ac:spMk id="3" creationId="{8EA090D3-2F92-7951-327C-7B4DFBFE2227}"/>
          </ac:spMkLst>
        </pc:spChg>
        <pc:spChg chg="del">
          <ac:chgData name="GISELLE JACQUELINE DOS SANTOS" userId="4b7eb9a6-35ae-4475-908c-798858f5303a" providerId="ADAL" clId="{800FBBBC-0091-4363-8F8F-DB6CFE17D07A}" dt="2024-11-16T15:04:50.841" v="4780" actId="478"/>
          <ac:spMkLst>
            <pc:docMk/>
            <pc:sldMk cId="3974070704" sldId="266"/>
            <ac:spMk id="4" creationId="{BF02F711-AB3F-D2A7-389F-19EBE464B68D}"/>
          </ac:spMkLst>
        </pc:spChg>
        <pc:spChg chg="del">
          <ac:chgData name="GISELLE JACQUELINE DOS SANTOS" userId="4b7eb9a6-35ae-4475-908c-798858f5303a" providerId="ADAL" clId="{800FBBBC-0091-4363-8F8F-DB6CFE17D07A}" dt="2024-11-16T15:04:45.874" v="4777" actId="478"/>
          <ac:spMkLst>
            <pc:docMk/>
            <pc:sldMk cId="3974070704" sldId="266"/>
            <ac:spMk id="5" creationId="{9F9161F1-21D9-2959-0EE3-E6A6E270ABB7}"/>
          </ac:spMkLst>
        </pc:spChg>
        <pc:spChg chg="mod">
          <ac:chgData name="GISELLE JACQUELINE DOS SANTOS" userId="4b7eb9a6-35ae-4475-908c-798858f5303a" providerId="ADAL" clId="{800FBBBC-0091-4363-8F8F-DB6CFE17D07A}" dt="2024-11-16T15:05:48.629" v="4808" actId="1076"/>
          <ac:spMkLst>
            <pc:docMk/>
            <pc:sldMk cId="3974070704" sldId="266"/>
            <ac:spMk id="6" creationId="{9A1A1460-1F72-6044-12E9-C07C0282E256}"/>
          </ac:spMkLst>
        </pc:spChg>
        <pc:spChg chg="del">
          <ac:chgData name="GISELLE JACQUELINE DOS SANTOS" userId="4b7eb9a6-35ae-4475-908c-798858f5303a" providerId="ADAL" clId="{800FBBBC-0091-4363-8F8F-DB6CFE17D07A}" dt="2024-11-16T15:04:33.462" v="4775" actId="478"/>
          <ac:spMkLst>
            <pc:docMk/>
            <pc:sldMk cId="3974070704" sldId="266"/>
            <ac:spMk id="7" creationId="{BC16BCAC-46A4-2BD6-9F76-6368E108798A}"/>
          </ac:spMkLst>
        </pc:spChg>
        <pc:spChg chg="del">
          <ac:chgData name="GISELLE JACQUELINE DOS SANTOS" userId="4b7eb9a6-35ae-4475-908c-798858f5303a" providerId="ADAL" clId="{800FBBBC-0091-4363-8F8F-DB6CFE17D07A}" dt="2024-11-16T15:04:28.227" v="4772" actId="478"/>
          <ac:spMkLst>
            <pc:docMk/>
            <pc:sldMk cId="3974070704" sldId="266"/>
            <ac:spMk id="8" creationId="{9C16F677-0D8D-DCE6-BF04-7C660DBB23EB}"/>
          </ac:spMkLst>
        </pc:spChg>
        <pc:picChg chg="add del mod">
          <ac:chgData name="GISELLE JACQUELINE DOS SANTOS" userId="4b7eb9a6-35ae-4475-908c-798858f5303a" providerId="ADAL" clId="{800FBBBC-0091-4363-8F8F-DB6CFE17D07A}" dt="2024-11-16T15:04:48.530" v="4779" actId="478"/>
          <ac:picMkLst>
            <pc:docMk/>
            <pc:sldMk cId="3974070704" sldId="266"/>
            <ac:picMk id="2050" creationId="{48E86430-69E4-0008-FC0F-4CAF1AE2AEAA}"/>
          </ac:picMkLst>
        </pc:picChg>
      </pc:sldChg>
      <pc:sldChg chg="addSp delSp modSp new mod">
        <pc:chgData name="GISELLE JACQUELINE DOS SANTOS" userId="4b7eb9a6-35ae-4475-908c-798858f5303a" providerId="ADAL" clId="{800FBBBC-0091-4363-8F8F-DB6CFE17D07A}" dt="2024-11-16T15:06:53.628" v="4820" actId="207"/>
        <pc:sldMkLst>
          <pc:docMk/>
          <pc:sldMk cId="3945177526" sldId="267"/>
        </pc:sldMkLst>
        <pc:spChg chg="del">
          <ac:chgData name="GISELLE JACQUELINE DOS SANTOS" userId="4b7eb9a6-35ae-4475-908c-798858f5303a" providerId="ADAL" clId="{800FBBBC-0091-4363-8F8F-DB6CFE17D07A}" dt="2024-11-16T13:20:27.285" v="2176" actId="478"/>
          <ac:spMkLst>
            <pc:docMk/>
            <pc:sldMk cId="3945177526" sldId="267"/>
            <ac:spMk id="2" creationId="{7413651B-DBE0-114A-298C-C97D1C7CAAA3}"/>
          </ac:spMkLst>
        </pc:spChg>
        <pc:spChg chg="del mod">
          <ac:chgData name="GISELLE JACQUELINE DOS SANTOS" userId="4b7eb9a6-35ae-4475-908c-798858f5303a" providerId="ADAL" clId="{800FBBBC-0091-4363-8F8F-DB6CFE17D07A}" dt="2024-11-16T13:20:42.821" v="2177" actId="478"/>
          <ac:spMkLst>
            <pc:docMk/>
            <pc:sldMk cId="3945177526" sldId="267"/>
            <ac:spMk id="3" creationId="{DCABE7CB-119E-1653-0B55-95CD72AA039A}"/>
          </ac:spMkLst>
        </pc:spChg>
        <pc:spChg chg="del">
          <ac:chgData name="GISELLE JACQUELINE DOS SANTOS" userId="4b7eb9a6-35ae-4475-908c-798858f5303a" providerId="ADAL" clId="{800FBBBC-0091-4363-8F8F-DB6CFE17D07A}" dt="2024-11-16T13:20:42.821" v="2177" actId="478"/>
          <ac:spMkLst>
            <pc:docMk/>
            <pc:sldMk cId="3945177526" sldId="267"/>
            <ac:spMk id="4" creationId="{8030D8C5-F631-54BA-3731-C2F565233772}"/>
          </ac:spMkLst>
        </pc:spChg>
        <pc:spChg chg="mod">
          <ac:chgData name="GISELLE JACQUELINE DOS SANTOS" userId="4b7eb9a6-35ae-4475-908c-798858f5303a" providerId="ADAL" clId="{800FBBBC-0091-4363-8F8F-DB6CFE17D07A}" dt="2024-11-15T16:12:14.505" v="1855" actId="20577"/>
          <ac:spMkLst>
            <pc:docMk/>
            <pc:sldMk cId="3945177526" sldId="267"/>
            <ac:spMk id="5" creationId="{FCA202F7-2C8C-6680-195C-796445480511}"/>
          </ac:spMkLst>
        </pc:spChg>
        <pc:spChg chg="mod">
          <ac:chgData name="GISELLE JACQUELINE DOS SANTOS" userId="4b7eb9a6-35ae-4475-908c-798858f5303a" providerId="ADAL" clId="{800FBBBC-0091-4363-8F8F-DB6CFE17D07A}" dt="2024-11-16T15:06:53.628" v="4820" actId="207"/>
          <ac:spMkLst>
            <pc:docMk/>
            <pc:sldMk cId="3945177526" sldId="267"/>
            <ac:spMk id="6" creationId="{3DD3851B-270D-9D04-AEF2-B97DEE199C7D}"/>
          </ac:spMkLst>
        </pc:spChg>
        <pc:spChg chg="mod">
          <ac:chgData name="GISELLE JACQUELINE DOS SANTOS" userId="4b7eb9a6-35ae-4475-908c-798858f5303a" providerId="ADAL" clId="{800FBBBC-0091-4363-8F8F-DB6CFE17D07A}" dt="2024-11-16T13:58:48.951" v="2470" actId="20577"/>
          <ac:spMkLst>
            <pc:docMk/>
            <pc:sldMk cId="3945177526" sldId="267"/>
            <ac:spMk id="7" creationId="{CF7C9659-B324-6CA3-BFB8-7464C760EE1F}"/>
          </ac:spMkLst>
        </pc:spChg>
        <pc:spChg chg="del">
          <ac:chgData name="GISELLE JACQUELINE DOS SANTOS" userId="4b7eb9a6-35ae-4475-908c-798858f5303a" providerId="ADAL" clId="{800FBBBC-0091-4363-8F8F-DB6CFE17D07A}" dt="2024-11-15T16:07:55.334" v="1756" actId="931"/>
          <ac:spMkLst>
            <pc:docMk/>
            <pc:sldMk cId="3945177526" sldId="267"/>
            <ac:spMk id="8" creationId="{B9A963AB-CC0E-EF06-97B3-BD71E40D7E44}"/>
          </ac:spMkLst>
        </pc:spChg>
        <pc:picChg chg="add mod">
          <ac:chgData name="GISELLE JACQUELINE DOS SANTOS" userId="4b7eb9a6-35ae-4475-908c-798858f5303a" providerId="ADAL" clId="{800FBBBC-0091-4363-8F8F-DB6CFE17D07A}" dt="2024-11-15T16:42:47.826" v="2119" actId="14100"/>
          <ac:picMkLst>
            <pc:docMk/>
            <pc:sldMk cId="3945177526" sldId="267"/>
            <ac:picMk id="10" creationId="{371DCACE-2B30-B780-2C8C-FC2859FA5A16}"/>
          </ac:picMkLst>
        </pc:picChg>
      </pc:sldChg>
      <pc:sldChg chg="addSp delSp modSp add mod">
        <pc:chgData name="GISELLE JACQUELINE DOS SANTOS" userId="4b7eb9a6-35ae-4475-908c-798858f5303a" providerId="ADAL" clId="{800FBBBC-0091-4363-8F8F-DB6CFE17D07A}" dt="2024-11-16T15:06:49.064" v="4819" actId="207"/>
        <pc:sldMkLst>
          <pc:docMk/>
          <pc:sldMk cId="2025177003" sldId="268"/>
        </pc:sldMkLst>
        <pc:spChg chg="del">
          <ac:chgData name="GISELLE JACQUELINE DOS SANTOS" userId="4b7eb9a6-35ae-4475-908c-798858f5303a" providerId="ADAL" clId="{800FBBBC-0091-4363-8F8F-DB6CFE17D07A}" dt="2024-11-16T14:22:46.831" v="3301" actId="478"/>
          <ac:spMkLst>
            <pc:docMk/>
            <pc:sldMk cId="2025177003" sldId="268"/>
            <ac:spMk id="2" creationId="{7413651B-DBE0-114A-298C-C97D1C7CAAA3}"/>
          </ac:spMkLst>
        </pc:spChg>
        <pc:spChg chg="del">
          <ac:chgData name="GISELLE JACQUELINE DOS SANTOS" userId="4b7eb9a6-35ae-4475-908c-798858f5303a" providerId="ADAL" clId="{800FBBBC-0091-4363-8F8F-DB6CFE17D07A}" dt="2024-11-16T14:22:48.770" v="3303" actId="478"/>
          <ac:spMkLst>
            <pc:docMk/>
            <pc:sldMk cId="2025177003" sldId="268"/>
            <ac:spMk id="3" creationId="{DCABE7CB-119E-1653-0B55-95CD72AA039A}"/>
          </ac:spMkLst>
        </pc:spChg>
        <pc:spChg chg="del">
          <ac:chgData name="GISELLE JACQUELINE DOS SANTOS" userId="4b7eb9a6-35ae-4475-908c-798858f5303a" providerId="ADAL" clId="{800FBBBC-0091-4363-8F8F-DB6CFE17D07A}" dt="2024-11-16T14:22:47.581" v="3302" actId="478"/>
          <ac:spMkLst>
            <pc:docMk/>
            <pc:sldMk cId="2025177003" sldId="268"/>
            <ac:spMk id="4" creationId="{8030D8C5-F631-54BA-3731-C2F565233772}"/>
          </ac:spMkLst>
        </pc:spChg>
        <pc:spChg chg="mod">
          <ac:chgData name="GISELLE JACQUELINE DOS SANTOS" userId="4b7eb9a6-35ae-4475-908c-798858f5303a" providerId="ADAL" clId="{800FBBBC-0091-4363-8F8F-DB6CFE17D07A}" dt="2024-11-15T16:13:57.662" v="1868" actId="20577"/>
          <ac:spMkLst>
            <pc:docMk/>
            <pc:sldMk cId="2025177003" sldId="268"/>
            <ac:spMk id="5" creationId="{FCA202F7-2C8C-6680-195C-796445480511}"/>
          </ac:spMkLst>
        </pc:spChg>
        <pc:spChg chg="mod">
          <ac:chgData name="GISELLE JACQUELINE DOS SANTOS" userId="4b7eb9a6-35ae-4475-908c-798858f5303a" providerId="ADAL" clId="{800FBBBC-0091-4363-8F8F-DB6CFE17D07A}" dt="2024-11-16T15:06:49.064" v="4819" actId="207"/>
          <ac:spMkLst>
            <pc:docMk/>
            <pc:sldMk cId="2025177003" sldId="268"/>
            <ac:spMk id="6" creationId="{3DD3851B-270D-9D04-AEF2-B97DEE199C7D}"/>
          </ac:spMkLst>
        </pc:spChg>
        <pc:spChg chg="mod">
          <ac:chgData name="GISELLE JACQUELINE DOS SANTOS" userId="4b7eb9a6-35ae-4475-908c-798858f5303a" providerId="ADAL" clId="{800FBBBC-0091-4363-8F8F-DB6CFE17D07A}" dt="2024-11-16T14:02:19.668" v="2708" actId="20577"/>
          <ac:spMkLst>
            <pc:docMk/>
            <pc:sldMk cId="2025177003" sldId="268"/>
            <ac:spMk id="7" creationId="{CF7C9659-B324-6CA3-BFB8-7464C760EE1F}"/>
          </ac:spMkLst>
        </pc:spChg>
        <pc:spChg chg="add del mod">
          <ac:chgData name="GISELLE JACQUELINE DOS SANTOS" userId="4b7eb9a6-35ae-4475-908c-798858f5303a" providerId="ADAL" clId="{800FBBBC-0091-4363-8F8F-DB6CFE17D07A}" dt="2024-11-15T16:09:41.538" v="1819" actId="931"/>
          <ac:spMkLst>
            <pc:docMk/>
            <pc:sldMk cId="2025177003" sldId="268"/>
            <ac:spMk id="9" creationId="{0ED662A5-69E3-EF98-A233-7E8FAD1B04F6}"/>
          </ac:spMkLst>
        </pc:spChg>
        <pc:picChg chg="del">
          <ac:chgData name="GISELLE JACQUELINE DOS SANTOS" userId="4b7eb9a6-35ae-4475-908c-798858f5303a" providerId="ADAL" clId="{800FBBBC-0091-4363-8F8F-DB6CFE17D07A}" dt="2024-11-15T16:08:16.468" v="1765" actId="478"/>
          <ac:picMkLst>
            <pc:docMk/>
            <pc:sldMk cId="2025177003" sldId="268"/>
            <ac:picMk id="10" creationId="{371DCACE-2B30-B780-2C8C-FC2859FA5A16}"/>
          </ac:picMkLst>
        </pc:picChg>
        <pc:picChg chg="add mod">
          <ac:chgData name="GISELLE JACQUELINE DOS SANTOS" userId="4b7eb9a6-35ae-4475-908c-798858f5303a" providerId="ADAL" clId="{800FBBBC-0091-4363-8F8F-DB6CFE17D07A}" dt="2024-11-15T16:42:58.622" v="2122" actId="14100"/>
          <ac:picMkLst>
            <pc:docMk/>
            <pc:sldMk cId="2025177003" sldId="268"/>
            <ac:picMk id="12" creationId="{B41DEFEA-E95C-EB03-1AD5-68BBC755E0FA}"/>
          </ac:picMkLst>
        </pc:picChg>
      </pc:sldChg>
      <pc:sldChg chg="del">
        <pc:chgData name="GISELLE JACQUELINE DOS SANTOS" userId="4b7eb9a6-35ae-4475-908c-798858f5303a" providerId="ADAL" clId="{800FBBBC-0091-4363-8F8F-DB6CFE17D07A}" dt="2024-11-15T14:06:20.168" v="122" actId="47"/>
        <pc:sldMkLst>
          <pc:docMk/>
          <pc:sldMk cId="3386433965" sldId="268"/>
        </pc:sldMkLst>
      </pc:sldChg>
      <pc:sldChg chg="addSp delSp modSp add del mod">
        <pc:chgData name="GISELLE JACQUELINE DOS SANTOS" userId="4b7eb9a6-35ae-4475-908c-798858f5303a" providerId="ADAL" clId="{800FBBBC-0091-4363-8F8F-DB6CFE17D07A}" dt="2024-11-16T15:06:45.656" v="4818" actId="207"/>
        <pc:sldMkLst>
          <pc:docMk/>
          <pc:sldMk cId="3355106624" sldId="269"/>
        </pc:sldMkLst>
        <pc:spChg chg="del">
          <ac:chgData name="GISELLE JACQUELINE DOS SANTOS" userId="4b7eb9a6-35ae-4475-908c-798858f5303a" providerId="ADAL" clId="{800FBBBC-0091-4363-8F8F-DB6CFE17D07A}" dt="2024-11-16T14:22:41.481" v="3298" actId="478"/>
          <ac:spMkLst>
            <pc:docMk/>
            <pc:sldMk cId="3355106624" sldId="269"/>
            <ac:spMk id="2" creationId="{7413651B-DBE0-114A-298C-C97D1C7CAAA3}"/>
          </ac:spMkLst>
        </pc:spChg>
        <pc:spChg chg="del">
          <ac:chgData name="GISELLE JACQUELINE DOS SANTOS" userId="4b7eb9a6-35ae-4475-908c-798858f5303a" providerId="ADAL" clId="{800FBBBC-0091-4363-8F8F-DB6CFE17D07A}" dt="2024-11-16T14:22:43.481" v="3300" actId="478"/>
          <ac:spMkLst>
            <pc:docMk/>
            <pc:sldMk cId="3355106624" sldId="269"/>
            <ac:spMk id="3" creationId="{DCABE7CB-119E-1653-0B55-95CD72AA039A}"/>
          </ac:spMkLst>
        </pc:spChg>
        <pc:spChg chg="del">
          <ac:chgData name="GISELLE JACQUELINE DOS SANTOS" userId="4b7eb9a6-35ae-4475-908c-798858f5303a" providerId="ADAL" clId="{800FBBBC-0091-4363-8F8F-DB6CFE17D07A}" dt="2024-11-16T14:22:42.194" v="3299" actId="478"/>
          <ac:spMkLst>
            <pc:docMk/>
            <pc:sldMk cId="3355106624" sldId="269"/>
            <ac:spMk id="4" creationId="{8030D8C5-F631-54BA-3731-C2F565233772}"/>
          </ac:spMkLst>
        </pc:spChg>
        <pc:spChg chg="mod">
          <ac:chgData name="GISELLE JACQUELINE DOS SANTOS" userId="4b7eb9a6-35ae-4475-908c-798858f5303a" providerId="ADAL" clId="{800FBBBC-0091-4363-8F8F-DB6CFE17D07A}" dt="2024-11-16T14:06:17.862" v="2815" actId="20577"/>
          <ac:spMkLst>
            <pc:docMk/>
            <pc:sldMk cId="3355106624" sldId="269"/>
            <ac:spMk id="5" creationId="{FCA202F7-2C8C-6680-195C-796445480511}"/>
          </ac:spMkLst>
        </pc:spChg>
        <pc:spChg chg="mod">
          <ac:chgData name="GISELLE JACQUELINE DOS SANTOS" userId="4b7eb9a6-35ae-4475-908c-798858f5303a" providerId="ADAL" clId="{800FBBBC-0091-4363-8F8F-DB6CFE17D07A}" dt="2024-11-16T15:06:45.656" v="4818" actId="207"/>
          <ac:spMkLst>
            <pc:docMk/>
            <pc:sldMk cId="3355106624" sldId="269"/>
            <ac:spMk id="6" creationId="{3DD3851B-270D-9D04-AEF2-B97DEE199C7D}"/>
          </ac:spMkLst>
        </pc:spChg>
        <pc:spChg chg="mod">
          <ac:chgData name="GISELLE JACQUELINE DOS SANTOS" userId="4b7eb9a6-35ae-4475-908c-798858f5303a" providerId="ADAL" clId="{800FBBBC-0091-4363-8F8F-DB6CFE17D07A}" dt="2024-11-16T14:05:14.398" v="2811" actId="33524"/>
          <ac:spMkLst>
            <pc:docMk/>
            <pc:sldMk cId="3355106624" sldId="269"/>
            <ac:spMk id="7" creationId="{CF7C9659-B324-6CA3-BFB8-7464C760EE1F}"/>
          </ac:spMkLst>
        </pc:spChg>
        <pc:spChg chg="add del mod">
          <ac:chgData name="GISELLE JACQUELINE DOS SANTOS" userId="4b7eb9a6-35ae-4475-908c-798858f5303a" providerId="ADAL" clId="{800FBBBC-0091-4363-8F8F-DB6CFE17D07A}" dt="2024-11-15T16:09:48.595" v="1822" actId="931"/>
          <ac:spMkLst>
            <pc:docMk/>
            <pc:sldMk cId="3355106624" sldId="269"/>
            <ac:spMk id="9" creationId="{00ECF4AC-4907-EDEB-DC8C-3813342B83AE}"/>
          </ac:spMkLst>
        </pc:spChg>
        <pc:picChg chg="del">
          <ac:chgData name="GISELLE JACQUELINE DOS SANTOS" userId="4b7eb9a6-35ae-4475-908c-798858f5303a" providerId="ADAL" clId="{800FBBBC-0091-4363-8F8F-DB6CFE17D07A}" dt="2024-11-15T16:09:24.129" v="1816" actId="478"/>
          <ac:picMkLst>
            <pc:docMk/>
            <pc:sldMk cId="3355106624" sldId="269"/>
            <ac:picMk id="10" creationId="{371DCACE-2B30-B780-2C8C-FC2859FA5A16}"/>
          </ac:picMkLst>
        </pc:picChg>
        <pc:picChg chg="add mod">
          <ac:chgData name="GISELLE JACQUELINE DOS SANTOS" userId="4b7eb9a6-35ae-4475-908c-798858f5303a" providerId="ADAL" clId="{800FBBBC-0091-4363-8F8F-DB6CFE17D07A}" dt="2024-11-15T16:43:08.347" v="2125" actId="1076"/>
          <ac:picMkLst>
            <pc:docMk/>
            <pc:sldMk cId="3355106624" sldId="269"/>
            <ac:picMk id="12" creationId="{2129DED9-9B0E-D5AB-49A2-3FF42FE4FB68}"/>
          </ac:picMkLst>
        </pc:picChg>
      </pc:sldChg>
      <pc:sldChg chg="addSp delSp modSp add del mod">
        <pc:chgData name="GISELLE JACQUELINE DOS SANTOS" userId="4b7eb9a6-35ae-4475-908c-798858f5303a" providerId="ADAL" clId="{800FBBBC-0091-4363-8F8F-DB6CFE17D07A}" dt="2024-11-16T15:06:41.768" v="4817" actId="207"/>
        <pc:sldMkLst>
          <pc:docMk/>
          <pc:sldMk cId="4132164390" sldId="270"/>
        </pc:sldMkLst>
        <pc:spChg chg="del">
          <ac:chgData name="GISELLE JACQUELINE DOS SANTOS" userId="4b7eb9a6-35ae-4475-908c-798858f5303a" providerId="ADAL" clId="{800FBBBC-0091-4363-8F8F-DB6CFE17D07A}" dt="2024-11-16T14:22:36.909" v="3295" actId="478"/>
          <ac:spMkLst>
            <pc:docMk/>
            <pc:sldMk cId="4132164390" sldId="270"/>
            <ac:spMk id="2" creationId="{7413651B-DBE0-114A-298C-C97D1C7CAAA3}"/>
          </ac:spMkLst>
        </pc:spChg>
        <pc:spChg chg="del">
          <ac:chgData name="GISELLE JACQUELINE DOS SANTOS" userId="4b7eb9a6-35ae-4475-908c-798858f5303a" providerId="ADAL" clId="{800FBBBC-0091-4363-8F8F-DB6CFE17D07A}" dt="2024-11-16T14:22:39.143" v="3297" actId="478"/>
          <ac:spMkLst>
            <pc:docMk/>
            <pc:sldMk cId="4132164390" sldId="270"/>
            <ac:spMk id="3" creationId="{DCABE7CB-119E-1653-0B55-95CD72AA039A}"/>
          </ac:spMkLst>
        </pc:spChg>
        <pc:spChg chg="del">
          <ac:chgData name="GISELLE JACQUELINE DOS SANTOS" userId="4b7eb9a6-35ae-4475-908c-798858f5303a" providerId="ADAL" clId="{800FBBBC-0091-4363-8F8F-DB6CFE17D07A}" dt="2024-11-16T14:22:37.875" v="3296" actId="478"/>
          <ac:spMkLst>
            <pc:docMk/>
            <pc:sldMk cId="4132164390" sldId="270"/>
            <ac:spMk id="4" creationId="{8030D8C5-F631-54BA-3731-C2F565233772}"/>
          </ac:spMkLst>
        </pc:spChg>
        <pc:spChg chg="mod">
          <ac:chgData name="GISELLE JACQUELINE DOS SANTOS" userId="4b7eb9a6-35ae-4475-908c-798858f5303a" providerId="ADAL" clId="{800FBBBC-0091-4363-8F8F-DB6CFE17D07A}" dt="2024-11-15T16:15:51.423" v="1886" actId="20577"/>
          <ac:spMkLst>
            <pc:docMk/>
            <pc:sldMk cId="4132164390" sldId="270"/>
            <ac:spMk id="5" creationId="{FCA202F7-2C8C-6680-195C-796445480511}"/>
          </ac:spMkLst>
        </pc:spChg>
        <pc:spChg chg="mod">
          <ac:chgData name="GISELLE JACQUELINE DOS SANTOS" userId="4b7eb9a6-35ae-4475-908c-798858f5303a" providerId="ADAL" clId="{800FBBBC-0091-4363-8F8F-DB6CFE17D07A}" dt="2024-11-16T15:06:41.768" v="4817" actId="207"/>
          <ac:spMkLst>
            <pc:docMk/>
            <pc:sldMk cId="4132164390" sldId="270"/>
            <ac:spMk id="6" creationId="{3DD3851B-270D-9D04-AEF2-B97DEE199C7D}"/>
          </ac:spMkLst>
        </pc:spChg>
        <pc:spChg chg="mod">
          <ac:chgData name="GISELLE JACQUELINE DOS SANTOS" userId="4b7eb9a6-35ae-4475-908c-798858f5303a" providerId="ADAL" clId="{800FBBBC-0091-4363-8F8F-DB6CFE17D07A}" dt="2024-11-16T14:13:15.604" v="3068" actId="27636"/>
          <ac:spMkLst>
            <pc:docMk/>
            <pc:sldMk cId="4132164390" sldId="270"/>
            <ac:spMk id="7" creationId="{CF7C9659-B324-6CA3-BFB8-7464C760EE1F}"/>
          </ac:spMkLst>
        </pc:spChg>
        <pc:spChg chg="add del mod">
          <ac:chgData name="GISELLE JACQUELINE DOS SANTOS" userId="4b7eb9a6-35ae-4475-908c-798858f5303a" providerId="ADAL" clId="{800FBBBC-0091-4363-8F8F-DB6CFE17D07A}" dt="2024-11-15T16:09:54.563" v="1825" actId="931"/>
          <ac:spMkLst>
            <pc:docMk/>
            <pc:sldMk cId="4132164390" sldId="270"/>
            <ac:spMk id="9" creationId="{EC3C1140-6810-AFDB-14CD-8B95EF0EA31C}"/>
          </ac:spMkLst>
        </pc:spChg>
        <pc:picChg chg="del">
          <ac:chgData name="GISELLE JACQUELINE DOS SANTOS" userId="4b7eb9a6-35ae-4475-908c-798858f5303a" providerId="ADAL" clId="{800FBBBC-0091-4363-8F8F-DB6CFE17D07A}" dt="2024-11-15T16:09:26.749" v="1817" actId="478"/>
          <ac:picMkLst>
            <pc:docMk/>
            <pc:sldMk cId="4132164390" sldId="270"/>
            <ac:picMk id="10" creationId="{371DCACE-2B30-B780-2C8C-FC2859FA5A16}"/>
          </ac:picMkLst>
        </pc:picChg>
        <pc:picChg chg="add mod">
          <ac:chgData name="GISELLE JACQUELINE DOS SANTOS" userId="4b7eb9a6-35ae-4475-908c-798858f5303a" providerId="ADAL" clId="{800FBBBC-0091-4363-8F8F-DB6CFE17D07A}" dt="2024-11-15T16:43:25.422" v="2129" actId="1076"/>
          <ac:picMkLst>
            <pc:docMk/>
            <pc:sldMk cId="4132164390" sldId="270"/>
            <ac:picMk id="12" creationId="{7810189F-D032-27BC-45FD-67E2770AA800}"/>
          </ac:picMkLst>
        </pc:picChg>
      </pc:sldChg>
      <pc:sldChg chg="addSp delSp modSp add del mod">
        <pc:chgData name="GISELLE JACQUELINE DOS SANTOS" userId="4b7eb9a6-35ae-4475-908c-798858f5303a" providerId="ADAL" clId="{800FBBBC-0091-4363-8F8F-DB6CFE17D07A}" dt="2024-11-16T15:06:37.279" v="4816" actId="207"/>
        <pc:sldMkLst>
          <pc:docMk/>
          <pc:sldMk cId="2602062746" sldId="271"/>
        </pc:sldMkLst>
        <pc:spChg chg="del">
          <ac:chgData name="GISELLE JACQUELINE DOS SANTOS" userId="4b7eb9a6-35ae-4475-908c-798858f5303a" providerId="ADAL" clId="{800FBBBC-0091-4363-8F8F-DB6CFE17D07A}" dt="2024-11-16T14:22:31.943" v="3292" actId="478"/>
          <ac:spMkLst>
            <pc:docMk/>
            <pc:sldMk cId="2602062746" sldId="271"/>
            <ac:spMk id="2" creationId="{7413651B-DBE0-114A-298C-C97D1C7CAAA3}"/>
          </ac:spMkLst>
        </pc:spChg>
        <pc:spChg chg="del">
          <ac:chgData name="GISELLE JACQUELINE DOS SANTOS" userId="4b7eb9a6-35ae-4475-908c-798858f5303a" providerId="ADAL" clId="{800FBBBC-0091-4363-8F8F-DB6CFE17D07A}" dt="2024-11-16T14:22:34.387" v="3294" actId="478"/>
          <ac:spMkLst>
            <pc:docMk/>
            <pc:sldMk cId="2602062746" sldId="271"/>
            <ac:spMk id="3" creationId="{DCABE7CB-119E-1653-0B55-95CD72AA039A}"/>
          </ac:spMkLst>
        </pc:spChg>
        <pc:spChg chg="del">
          <ac:chgData name="GISELLE JACQUELINE DOS SANTOS" userId="4b7eb9a6-35ae-4475-908c-798858f5303a" providerId="ADAL" clId="{800FBBBC-0091-4363-8F8F-DB6CFE17D07A}" dt="2024-11-16T14:22:32.913" v="3293" actId="478"/>
          <ac:spMkLst>
            <pc:docMk/>
            <pc:sldMk cId="2602062746" sldId="271"/>
            <ac:spMk id="4" creationId="{8030D8C5-F631-54BA-3731-C2F565233772}"/>
          </ac:spMkLst>
        </pc:spChg>
        <pc:spChg chg="mod">
          <ac:chgData name="GISELLE JACQUELINE DOS SANTOS" userId="4b7eb9a6-35ae-4475-908c-798858f5303a" providerId="ADAL" clId="{800FBBBC-0091-4363-8F8F-DB6CFE17D07A}" dt="2024-11-15T16:16:37.847" v="1889" actId="20577"/>
          <ac:spMkLst>
            <pc:docMk/>
            <pc:sldMk cId="2602062746" sldId="271"/>
            <ac:spMk id="5" creationId="{FCA202F7-2C8C-6680-195C-796445480511}"/>
          </ac:spMkLst>
        </pc:spChg>
        <pc:spChg chg="mod">
          <ac:chgData name="GISELLE JACQUELINE DOS SANTOS" userId="4b7eb9a6-35ae-4475-908c-798858f5303a" providerId="ADAL" clId="{800FBBBC-0091-4363-8F8F-DB6CFE17D07A}" dt="2024-11-16T15:06:37.279" v="4816" actId="207"/>
          <ac:spMkLst>
            <pc:docMk/>
            <pc:sldMk cId="2602062746" sldId="271"/>
            <ac:spMk id="6" creationId="{3DD3851B-270D-9D04-AEF2-B97DEE199C7D}"/>
          </ac:spMkLst>
        </pc:spChg>
        <pc:spChg chg="mod">
          <ac:chgData name="GISELLE JACQUELINE DOS SANTOS" userId="4b7eb9a6-35ae-4475-908c-798858f5303a" providerId="ADAL" clId="{800FBBBC-0091-4363-8F8F-DB6CFE17D07A}" dt="2024-11-16T14:13:11.016" v="3066" actId="20577"/>
          <ac:spMkLst>
            <pc:docMk/>
            <pc:sldMk cId="2602062746" sldId="271"/>
            <ac:spMk id="7" creationId="{CF7C9659-B324-6CA3-BFB8-7464C760EE1F}"/>
          </ac:spMkLst>
        </pc:spChg>
        <pc:spChg chg="add del mod">
          <ac:chgData name="GISELLE JACQUELINE DOS SANTOS" userId="4b7eb9a6-35ae-4475-908c-798858f5303a" providerId="ADAL" clId="{800FBBBC-0091-4363-8F8F-DB6CFE17D07A}" dt="2024-11-15T16:10:00.577" v="1828" actId="931"/>
          <ac:spMkLst>
            <pc:docMk/>
            <pc:sldMk cId="2602062746" sldId="271"/>
            <ac:spMk id="9" creationId="{1BC7DC83-BC86-B9EA-FB35-64ABDE18C6CA}"/>
          </ac:spMkLst>
        </pc:spChg>
        <pc:picChg chg="del">
          <ac:chgData name="GISELLE JACQUELINE DOS SANTOS" userId="4b7eb9a6-35ae-4475-908c-798858f5303a" providerId="ADAL" clId="{800FBBBC-0091-4363-8F8F-DB6CFE17D07A}" dt="2024-11-15T16:09:29.553" v="1818" actId="478"/>
          <ac:picMkLst>
            <pc:docMk/>
            <pc:sldMk cId="2602062746" sldId="271"/>
            <ac:picMk id="10" creationId="{371DCACE-2B30-B780-2C8C-FC2859FA5A16}"/>
          </ac:picMkLst>
        </pc:picChg>
        <pc:picChg chg="add mod">
          <ac:chgData name="GISELLE JACQUELINE DOS SANTOS" userId="4b7eb9a6-35ae-4475-908c-798858f5303a" providerId="ADAL" clId="{800FBBBC-0091-4363-8F8F-DB6CFE17D07A}" dt="2024-11-15T16:43:37.077" v="2133" actId="1076"/>
          <ac:picMkLst>
            <pc:docMk/>
            <pc:sldMk cId="2602062746" sldId="271"/>
            <ac:picMk id="12" creationId="{DB50D063-12D7-A6C8-AACF-2B032C1EE384}"/>
          </ac:picMkLst>
        </pc:picChg>
      </pc:sldChg>
      <pc:sldChg chg="addSp delSp modSp new mod">
        <pc:chgData name="GISELLE JACQUELINE DOS SANTOS" userId="4b7eb9a6-35ae-4475-908c-798858f5303a" providerId="ADAL" clId="{800FBBBC-0091-4363-8F8F-DB6CFE17D07A}" dt="2024-11-16T15:06:33.778" v="4815" actId="207"/>
        <pc:sldMkLst>
          <pc:docMk/>
          <pc:sldMk cId="253144951" sldId="272"/>
        </pc:sldMkLst>
        <pc:spChg chg="del">
          <ac:chgData name="GISELLE JACQUELINE DOS SANTOS" userId="4b7eb9a6-35ae-4475-908c-798858f5303a" providerId="ADAL" clId="{800FBBBC-0091-4363-8F8F-DB6CFE17D07A}" dt="2024-11-16T14:22:27.417" v="3289" actId="478"/>
          <ac:spMkLst>
            <pc:docMk/>
            <pc:sldMk cId="253144951" sldId="272"/>
            <ac:spMk id="2" creationId="{024661F3-6361-BB80-D748-6CA59142FC90}"/>
          </ac:spMkLst>
        </pc:spChg>
        <pc:spChg chg="del mod">
          <ac:chgData name="GISELLE JACQUELINE DOS SANTOS" userId="4b7eb9a6-35ae-4475-908c-798858f5303a" providerId="ADAL" clId="{800FBBBC-0091-4363-8F8F-DB6CFE17D07A}" dt="2024-11-16T14:22:30.024" v="3291" actId="478"/>
          <ac:spMkLst>
            <pc:docMk/>
            <pc:sldMk cId="253144951" sldId="272"/>
            <ac:spMk id="3" creationId="{8DAA74A7-339E-E780-3549-1AE08BCFF556}"/>
          </ac:spMkLst>
        </pc:spChg>
        <pc:spChg chg="del">
          <ac:chgData name="GISELLE JACQUELINE DOS SANTOS" userId="4b7eb9a6-35ae-4475-908c-798858f5303a" providerId="ADAL" clId="{800FBBBC-0091-4363-8F8F-DB6CFE17D07A}" dt="2024-11-16T14:22:28.339" v="3290" actId="478"/>
          <ac:spMkLst>
            <pc:docMk/>
            <pc:sldMk cId="253144951" sldId="272"/>
            <ac:spMk id="4" creationId="{76A5547C-A7A9-3202-91E2-D7BBE8C169B4}"/>
          </ac:spMkLst>
        </pc:spChg>
        <pc:spChg chg="mod">
          <ac:chgData name="GISELLE JACQUELINE DOS SANTOS" userId="4b7eb9a6-35ae-4475-908c-798858f5303a" providerId="ADAL" clId="{800FBBBC-0091-4363-8F8F-DB6CFE17D07A}" dt="2024-11-15T16:19:22.053" v="1894"/>
          <ac:spMkLst>
            <pc:docMk/>
            <pc:sldMk cId="253144951" sldId="272"/>
            <ac:spMk id="5" creationId="{A906E3A0-D971-0C4A-DC77-AF1B914040F6}"/>
          </ac:spMkLst>
        </pc:spChg>
        <pc:spChg chg="mod">
          <ac:chgData name="GISELLE JACQUELINE DOS SANTOS" userId="4b7eb9a6-35ae-4475-908c-798858f5303a" providerId="ADAL" clId="{800FBBBC-0091-4363-8F8F-DB6CFE17D07A}" dt="2024-11-16T15:06:33.778" v="4815" actId="207"/>
          <ac:spMkLst>
            <pc:docMk/>
            <pc:sldMk cId="253144951" sldId="272"/>
            <ac:spMk id="6" creationId="{ECBD53C5-9008-1F3A-8D42-A1CE3FA8811B}"/>
          </ac:spMkLst>
        </pc:spChg>
        <pc:spChg chg="mod">
          <ac:chgData name="GISELLE JACQUELINE DOS SANTOS" userId="4b7eb9a6-35ae-4475-908c-798858f5303a" providerId="ADAL" clId="{800FBBBC-0091-4363-8F8F-DB6CFE17D07A}" dt="2024-11-16T14:15:08.404" v="3116" actId="14100"/>
          <ac:spMkLst>
            <pc:docMk/>
            <pc:sldMk cId="253144951" sldId="272"/>
            <ac:spMk id="7" creationId="{07AD9B62-1CC3-897F-6934-421DCF65CE3A}"/>
          </ac:spMkLst>
        </pc:spChg>
        <pc:spChg chg="del">
          <ac:chgData name="GISELLE JACQUELINE DOS SANTOS" userId="4b7eb9a6-35ae-4475-908c-798858f5303a" providerId="ADAL" clId="{800FBBBC-0091-4363-8F8F-DB6CFE17D07A}" dt="2024-11-15T16:19:50.878" v="1898" actId="931"/>
          <ac:spMkLst>
            <pc:docMk/>
            <pc:sldMk cId="253144951" sldId="272"/>
            <ac:spMk id="8" creationId="{B4D0AEAC-EB1E-FB82-1740-087610B0D6B0}"/>
          </ac:spMkLst>
        </pc:spChg>
        <pc:picChg chg="add mod">
          <ac:chgData name="GISELLE JACQUELINE DOS SANTOS" userId="4b7eb9a6-35ae-4475-908c-798858f5303a" providerId="ADAL" clId="{800FBBBC-0091-4363-8F8F-DB6CFE17D07A}" dt="2024-11-16T14:15:14.771" v="3117" actId="14100"/>
          <ac:picMkLst>
            <pc:docMk/>
            <pc:sldMk cId="253144951" sldId="272"/>
            <ac:picMk id="10" creationId="{4A1AE968-60DA-73EE-EAC3-28B721BDAB63}"/>
          </ac:picMkLst>
        </pc:picChg>
      </pc:sldChg>
      <pc:sldChg chg="new del">
        <pc:chgData name="GISELLE JACQUELINE DOS SANTOS" userId="4b7eb9a6-35ae-4475-908c-798858f5303a" providerId="ADAL" clId="{800FBBBC-0091-4363-8F8F-DB6CFE17D07A}" dt="2024-11-14T14:34:56.670" v="1" actId="680"/>
        <pc:sldMkLst>
          <pc:docMk/>
          <pc:sldMk cId="876339057" sldId="272"/>
        </pc:sldMkLst>
      </pc:sldChg>
      <pc:sldChg chg="addSp modSp add del mod modClrScheme chgLayout">
        <pc:chgData name="GISELLE JACQUELINE DOS SANTOS" userId="4b7eb9a6-35ae-4475-908c-798858f5303a" providerId="ADAL" clId="{800FBBBC-0091-4363-8F8F-DB6CFE17D07A}" dt="2024-11-15T16:06:02.639" v="1680" actId="47"/>
        <pc:sldMkLst>
          <pc:docMk/>
          <pc:sldMk cId="2367562055" sldId="272"/>
        </pc:sldMkLst>
        <pc:spChg chg="mod ord">
          <ac:chgData name="GISELLE JACQUELINE DOS SANTOS" userId="4b7eb9a6-35ae-4475-908c-798858f5303a" providerId="ADAL" clId="{800FBBBC-0091-4363-8F8F-DB6CFE17D07A}" dt="2024-11-14T14:35:07.581" v="3" actId="700"/>
          <ac:spMkLst>
            <pc:docMk/>
            <pc:sldMk cId="2367562055" sldId="272"/>
            <ac:spMk id="2" creationId="{00000000-0000-0000-0000-000000000000}"/>
          </ac:spMkLst>
        </pc:spChg>
        <pc:spChg chg="mod ord">
          <ac:chgData name="GISELLE JACQUELINE DOS SANTOS" userId="4b7eb9a6-35ae-4475-908c-798858f5303a" providerId="ADAL" clId="{800FBBBC-0091-4363-8F8F-DB6CFE17D07A}" dt="2024-11-14T14:36:22.678" v="24" actId="27636"/>
          <ac:spMkLst>
            <pc:docMk/>
            <pc:sldMk cId="2367562055" sldId="272"/>
            <ac:spMk id="3" creationId="{00000000-0000-0000-0000-000000000000}"/>
          </ac:spMkLst>
        </pc:spChg>
        <pc:spChg chg="add mod ord">
          <ac:chgData name="GISELLE JACQUELINE DOS SANTOS" userId="4b7eb9a6-35ae-4475-908c-798858f5303a" providerId="ADAL" clId="{800FBBBC-0091-4363-8F8F-DB6CFE17D07A}" dt="2024-11-14T14:36:04.842" v="14" actId="14100"/>
          <ac:spMkLst>
            <pc:docMk/>
            <pc:sldMk cId="2367562055" sldId="272"/>
            <ac:spMk id="4" creationId="{E220FE88-43BF-9B28-B018-E056A8C8CA06}"/>
          </ac:spMkLst>
        </pc:spChg>
        <pc:spChg chg="add mod ord">
          <ac:chgData name="GISELLE JACQUELINE DOS SANTOS" userId="4b7eb9a6-35ae-4475-908c-798858f5303a" providerId="ADAL" clId="{800FBBBC-0091-4363-8F8F-DB6CFE17D07A}" dt="2024-11-14T14:35:07.581" v="3" actId="700"/>
          <ac:spMkLst>
            <pc:docMk/>
            <pc:sldMk cId="2367562055" sldId="272"/>
            <ac:spMk id="5" creationId="{A2F92D11-FA9D-5050-3CF0-7D2E31789E3D}"/>
          </ac:spMkLst>
        </pc:spChg>
        <pc:spChg chg="add mod ord">
          <ac:chgData name="GISELLE JACQUELINE DOS SANTOS" userId="4b7eb9a6-35ae-4475-908c-798858f5303a" providerId="ADAL" clId="{800FBBBC-0091-4363-8F8F-DB6CFE17D07A}" dt="2024-11-14T14:35:07.581" v="3" actId="700"/>
          <ac:spMkLst>
            <pc:docMk/>
            <pc:sldMk cId="2367562055" sldId="272"/>
            <ac:spMk id="6" creationId="{E0E71820-5853-9DA5-C427-6265047F8E78}"/>
          </ac:spMkLst>
        </pc:spChg>
      </pc:sldChg>
      <pc:sldChg chg="addSp delSp modSp new mod">
        <pc:chgData name="GISELLE JACQUELINE DOS SANTOS" userId="4b7eb9a6-35ae-4475-908c-798858f5303a" providerId="ADAL" clId="{800FBBBC-0091-4363-8F8F-DB6CFE17D07A}" dt="2024-11-16T15:06:30.400" v="4814" actId="207"/>
        <pc:sldMkLst>
          <pc:docMk/>
          <pc:sldMk cId="1354644357" sldId="273"/>
        </pc:sldMkLst>
        <pc:spChg chg="del">
          <ac:chgData name="GISELLE JACQUELINE DOS SANTOS" userId="4b7eb9a6-35ae-4475-908c-798858f5303a" providerId="ADAL" clId="{800FBBBC-0091-4363-8F8F-DB6CFE17D07A}" dt="2024-11-16T14:22:22.855" v="3286" actId="478"/>
          <ac:spMkLst>
            <pc:docMk/>
            <pc:sldMk cId="1354644357" sldId="273"/>
            <ac:spMk id="2" creationId="{9FC09D93-FFC4-C73D-5A2C-DD1914445B91}"/>
          </ac:spMkLst>
        </pc:spChg>
        <pc:spChg chg="del mod">
          <ac:chgData name="GISELLE JACQUELINE DOS SANTOS" userId="4b7eb9a6-35ae-4475-908c-798858f5303a" providerId="ADAL" clId="{800FBBBC-0091-4363-8F8F-DB6CFE17D07A}" dt="2024-11-16T14:22:25.469" v="3288" actId="478"/>
          <ac:spMkLst>
            <pc:docMk/>
            <pc:sldMk cId="1354644357" sldId="273"/>
            <ac:spMk id="3" creationId="{4EC58A07-4318-13DF-827C-16ECE8870923}"/>
          </ac:spMkLst>
        </pc:spChg>
        <pc:spChg chg="del">
          <ac:chgData name="GISELLE JACQUELINE DOS SANTOS" userId="4b7eb9a6-35ae-4475-908c-798858f5303a" providerId="ADAL" clId="{800FBBBC-0091-4363-8F8F-DB6CFE17D07A}" dt="2024-11-16T14:22:23.912" v="3287" actId="478"/>
          <ac:spMkLst>
            <pc:docMk/>
            <pc:sldMk cId="1354644357" sldId="273"/>
            <ac:spMk id="4" creationId="{7220FA2B-2865-5CC9-6632-1DDAC4C67D08}"/>
          </ac:spMkLst>
        </pc:spChg>
        <pc:spChg chg="mod">
          <ac:chgData name="GISELLE JACQUELINE DOS SANTOS" userId="4b7eb9a6-35ae-4475-908c-798858f5303a" providerId="ADAL" clId="{800FBBBC-0091-4363-8F8F-DB6CFE17D07A}" dt="2024-11-15T16:20:34.597" v="1906"/>
          <ac:spMkLst>
            <pc:docMk/>
            <pc:sldMk cId="1354644357" sldId="273"/>
            <ac:spMk id="5" creationId="{917F6537-A374-B133-C74A-BDB00E3877F6}"/>
          </ac:spMkLst>
        </pc:spChg>
        <pc:spChg chg="mod">
          <ac:chgData name="GISELLE JACQUELINE DOS SANTOS" userId="4b7eb9a6-35ae-4475-908c-798858f5303a" providerId="ADAL" clId="{800FBBBC-0091-4363-8F8F-DB6CFE17D07A}" dt="2024-11-16T15:06:30.400" v="4814" actId="207"/>
          <ac:spMkLst>
            <pc:docMk/>
            <pc:sldMk cId="1354644357" sldId="273"/>
            <ac:spMk id="6" creationId="{8A7F25DE-67CB-4A5D-AD88-45CD44EC6BE4}"/>
          </ac:spMkLst>
        </pc:spChg>
        <pc:spChg chg="mod">
          <ac:chgData name="GISELLE JACQUELINE DOS SANTOS" userId="4b7eb9a6-35ae-4475-908c-798858f5303a" providerId="ADAL" clId="{800FBBBC-0091-4363-8F8F-DB6CFE17D07A}" dt="2024-11-16T14:18:33.249" v="3128" actId="20577"/>
          <ac:spMkLst>
            <pc:docMk/>
            <pc:sldMk cId="1354644357" sldId="273"/>
            <ac:spMk id="7" creationId="{FD44028D-592F-D611-8CBC-60628C4EC55C}"/>
          </ac:spMkLst>
        </pc:spChg>
        <pc:spChg chg="del">
          <ac:chgData name="GISELLE JACQUELINE DOS SANTOS" userId="4b7eb9a6-35ae-4475-908c-798858f5303a" providerId="ADAL" clId="{800FBBBC-0091-4363-8F8F-DB6CFE17D07A}" dt="2024-11-15T16:20:59.954" v="1909" actId="931"/>
          <ac:spMkLst>
            <pc:docMk/>
            <pc:sldMk cId="1354644357" sldId="273"/>
            <ac:spMk id="8" creationId="{8B652894-2C6A-2E4C-AB4F-2864699BCD7E}"/>
          </ac:spMkLst>
        </pc:spChg>
        <pc:picChg chg="add mod ord">
          <ac:chgData name="GISELLE JACQUELINE DOS SANTOS" userId="4b7eb9a6-35ae-4475-908c-798858f5303a" providerId="ADAL" clId="{800FBBBC-0091-4363-8F8F-DB6CFE17D07A}" dt="2024-11-16T14:17:40.509" v="3120" actId="167"/>
          <ac:picMkLst>
            <pc:docMk/>
            <pc:sldMk cId="1354644357" sldId="273"/>
            <ac:picMk id="10" creationId="{0F07DF1E-3183-15DD-D744-E25E1DDF3428}"/>
          </ac:picMkLst>
        </pc:picChg>
      </pc:sldChg>
      <pc:sldChg chg="addSp delSp modSp new mod">
        <pc:chgData name="GISELLE JACQUELINE DOS SANTOS" userId="4b7eb9a6-35ae-4475-908c-798858f5303a" providerId="ADAL" clId="{800FBBBC-0091-4363-8F8F-DB6CFE17D07A}" dt="2024-11-16T15:06:26.798" v="4813" actId="207"/>
        <pc:sldMkLst>
          <pc:docMk/>
          <pc:sldMk cId="3695230209" sldId="274"/>
        </pc:sldMkLst>
        <pc:spChg chg="del">
          <ac:chgData name="GISELLE JACQUELINE DOS SANTOS" userId="4b7eb9a6-35ae-4475-908c-798858f5303a" providerId="ADAL" clId="{800FBBBC-0091-4363-8F8F-DB6CFE17D07A}" dt="2024-11-16T14:22:16" v="3285" actId="478"/>
          <ac:spMkLst>
            <pc:docMk/>
            <pc:sldMk cId="3695230209" sldId="274"/>
            <ac:spMk id="2" creationId="{5A1322E9-67BC-D88B-4479-A2423290CDDD}"/>
          </ac:spMkLst>
        </pc:spChg>
        <pc:spChg chg="del mod">
          <ac:chgData name="GISELLE JACQUELINE DOS SANTOS" userId="4b7eb9a6-35ae-4475-908c-798858f5303a" providerId="ADAL" clId="{800FBBBC-0091-4363-8F8F-DB6CFE17D07A}" dt="2024-11-16T14:22:15.023" v="3284" actId="478"/>
          <ac:spMkLst>
            <pc:docMk/>
            <pc:sldMk cId="3695230209" sldId="274"/>
            <ac:spMk id="3" creationId="{2196A265-CED3-C80B-7974-E3103FF7B060}"/>
          </ac:spMkLst>
        </pc:spChg>
        <pc:spChg chg="del">
          <ac:chgData name="GISELLE JACQUELINE DOS SANTOS" userId="4b7eb9a6-35ae-4475-908c-798858f5303a" providerId="ADAL" clId="{800FBBBC-0091-4363-8F8F-DB6CFE17D07A}" dt="2024-11-16T14:22:12.431" v="3283" actId="478"/>
          <ac:spMkLst>
            <pc:docMk/>
            <pc:sldMk cId="3695230209" sldId="274"/>
            <ac:spMk id="4" creationId="{8FD4603F-9C8B-9A7B-84AD-B0D774D85F23}"/>
          </ac:spMkLst>
        </pc:spChg>
        <pc:spChg chg="mod">
          <ac:chgData name="GISELLE JACQUELINE DOS SANTOS" userId="4b7eb9a6-35ae-4475-908c-798858f5303a" providerId="ADAL" clId="{800FBBBC-0091-4363-8F8F-DB6CFE17D07A}" dt="2024-11-16T14:20:21.560" v="3181" actId="20577"/>
          <ac:spMkLst>
            <pc:docMk/>
            <pc:sldMk cId="3695230209" sldId="274"/>
            <ac:spMk id="5" creationId="{C5FB30A8-7917-EA56-BC68-0420E4706AB2}"/>
          </ac:spMkLst>
        </pc:spChg>
        <pc:spChg chg="mod">
          <ac:chgData name="GISELLE JACQUELINE DOS SANTOS" userId="4b7eb9a6-35ae-4475-908c-798858f5303a" providerId="ADAL" clId="{800FBBBC-0091-4363-8F8F-DB6CFE17D07A}" dt="2024-11-16T15:06:26.798" v="4813" actId="207"/>
          <ac:spMkLst>
            <pc:docMk/>
            <pc:sldMk cId="3695230209" sldId="274"/>
            <ac:spMk id="6" creationId="{84B05ED8-F1D1-1FC9-14AF-689CAE9C0E87}"/>
          </ac:spMkLst>
        </pc:spChg>
        <pc:spChg chg="mod">
          <ac:chgData name="GISELLE JACQUELINE DOS SANTOS" userId="4b7eb9a6-35ae-4475-908c-798858f5303a" providerId="ADAL" clId="{800FBBBC-0091-4363-8F8F-DB6CFE17D07A}" dt="2024-11-16T14:22:03.040" v="3282" actId="20577"/>
          <ac:spMkLst>
            <pc:docMk/>
            <pc:sldMk cId="3695230209" sldId="274"/>
            <ac:spMk id="7" creationId="{934E2E6B-7692-6E6F-A4EC-5394DA20C54E}"/>
          </ac:spMkLst>
        </pc:spChg>
        <pc:spChg chg="del">
          <ac:chgData name="GISELLE JACQUELINE DOS SANTOS" userId="4b7eb9a6-35ae-4475-908c-798858f5303a" providerId="ADAL" clId="{800FBBBC-0091-4363-8F8F-DB6CFE17D07A}" dt="2024-11-15T16:22:20.673" v="1921" actId="931"/>
          <ac:spMkLst>
            <pc:docMk/>
            <pc:sldMk cId="3695230209" sldId="274"/>
            <ac:spMk id="8" creationId="{C5974849-E936-CC0B-55E5-76A294512C5A}"/>
          </ac:spMkLst>
        </pc:spChg>
        <pc:picChg chg="add mod">
          <ac:chgData name="GISELLE JACQUELINE DOS SANTOS" userId="4b7eb9a6-35ae-4475-908c-798858f5303a" providerId="ADAL" clId="{800FBBBC-0091-4363-8F8F-DB6CFE17D07A}" dt="2024-11-15T16:44:22.949" v="2143" actId="1076"/>
          <ac:picMkLst>
            <pc:docMk/>
            <pc:sldMk cId="3695230209" sldId="274"/>
            <ac:picMk id="10" creationId="{B137B477-52CD-6E93-7ED9-E58B7A180AD1}"/>
          </ac:picMkLst>
        </pc:picChg>
      </pc:sldChg>
      <pc:sldChg chg="addSp delSp modSp new mod">
        <pc:chgData name="GISELLE JACQUELINE DOS SANTOS" userId="4b7eb9a6-35ae-4475-908c-798858f5303a" providerId="ADAL" clId="{800FBBBC-0091-4363-8F8F-DB6CFE17D07A}" dt="2024-11-16T15:06:21.633" v="4812" actId="207"/>
        <pc:sldMkLst>
          <pc:docMk/>
          <pc:sldMk cId="1594232501" sldId="275"/>
        </pc:sldMkLst>
        <pc:spChg chg="del">
          <ac:chgData name="GISELLE JACQUELINE DOS SANTOS" userId="4b7eb9a6-35ae-4475-908c-798858f5303a" providerId="ADAL" clId="{800FBBBC-0091-4363-8F8F-DB6CFE17D07A}" dt="2024-11-16T14:24:08.541" v="3305" actId="478"/>
          <ac:spMkLst>
            <pc:docMk/>
            <pc:sldMk cId="1594232501" sldId="275"/>
            <ac:spMk id="2" creationId="{04928BC7-AF87-064F-5BB2-FD4FD753742A}"/>
          </ac:spMkLst>
        </pc:spChg>
        <pc:spChg chg="del mod">
          <ac:chgData name="GISELLE JACQUELINE DOS SANTOS" userId="4b7eb9a6-35ae-4475-908c-798858f5303a" providerId="ADAL" clId="{800FBBBC-0091-4363-8F8F-DB6CFE17D07A}" dt="2024-11-16T14:24:11.258" v="3307" actId="478"/>
          <ac:spMkLst>
            <pc:docMk/>
            <pc:sldMk cId="1594232501" sldId="275"/>
            <ac:spMk id="3" creationId="{45E15C40-AE09-D482-0A1D-0573D8ED31CE}"/>
          </ac:spMkLst>
        </pc:spChg>
        <pc:spChg chg="del">
          <ac:chgData name="GISELLE JACQUELINE DOS SANTOS" userId="4b7eb9a6-35ae-4475-908c-798858f5303a" providerId="ADAL" clId="{800FBBBC-0091-4363-8F8F-DB6CFE17D07A}" dt="2024-11-16T14:24:09.265" v="3306" actId="478"/>
          <ac:spMkLst>
            <pc:docMk/>
            <pc:sldMk cId="1594232501" sldId="275"/>
            <ac:spMk id="4" creationId="{FC7AF0A4-34C0-28F6-9A53-79D70E3B2948}"/>
          </ac:spMkLst>
        </pc:spChg>
        <pc:spChg chg="mod">
          <ac:chgData name="GISELLE JACQUELINE DOS SANTOS" userId="4b7eb9a6-35ae-4475-908c-798858f5303a" providerId="ADAL" clId="{800FBBBC-0091-4363-8F8F-DB6CFE17D07A}" dt="2024-11-15T16:23:07.815" v="1930"/>
          <ac:spMkLst>
            <pc:docMk/>
            <pc:sldMk cId="1594232501" sldId="275"/>
            <ac:spMk id="5" creationId="{0E54B4DF-A51D-76B0-3967-794974A90B39}"/>
          </ac:spMkLst>
        </pc:spChg>
        <pc:spChg chg="mod">
          <ac:chgData name="GISELLE JACQUELINE DOS SANTOS" userId="4b7eb9a6-35ae-4475-908c-798858f5303a" providerId="ADAL" clId="{800FBBBC-0091-4363-8F8F-DB6CFE17D07A}" dt="2024-11-16T15:06:21.633" v="4812" actId="207"/>
          <ac:spMkLst>
            <pc:docMk/>
            <pc:sldMk cId="1594232501" sldId="275"/>
            <ac:spMk id="6" creationId="{FDE6E612-55DA-D8B4-FE22-3FF8F86ADB07}"/>
          </ac:spMkLst>
        </pc:spChg>
        <pc:spChg chg="mod">
          <ac:chgData name="GISELLE JACQUELINE DOS SANTOS" userId="4b7eb9a6-35ae-4475-908c-798858f5303a" providerId="ADAL" clId="{800FBBBC-0091-4363-8F8F-DB6CFE17D07A}" dt="2024-11-16T14:23:29.720" v="3304" actId="20577"/>
          <ac:spMkLst>
            <pc:docMk/>
            <pc:sldMk cId="1594232501" sldId="275"/>
            <ac:spMk id="7" creationId="{2A86966E-64C1-3EB1-F465-EE1FACAD1DCB}"/>
          </ac:spMkLst>
        </pc:spChg>
        <pc:spChg chg="del">
          <ac:chgData name="GISELLE JACQUELINE DOS SANTOS" userId="4b7eb9a6-35ae-4475-908c-798858f5303a" providerId="ADAL" clId="{800FBBBC-0091-4363-8F8F-DB6CFE17D07A}" dt="2024-11-15T16:24:07.877" v="1935" actId="931"/>
          <ac:spMkLst>
            <pc:docMk/>
            <pc:sldMk cId="1594232501" sldId="275"/>
            <ac:spMk id="8" creationId="{D61ABFFB-79C5-19AB-CE2C-9226FFF1FD2E}"/>
          </ac:spMkLst>
        </pc:spChg>
        <pc:picChg chg="add mod">
          <ac:chgData name="GISELLE JACQUELINE DOS SANTOS" userId="4b7eb9a6-35ae-4475-908c-798858f5303a" providerId="ADAL" clId="{800FBBBC-0091-4363-8F8F-DB6CFE17D07A}" dt="2024-11-15T16:44:37.344" v="2147" actId="1076"/>
          <ac:picMkLst>
            <pc:docMk/>
            <pc:sldMk cId="1594232501" sldId="275"/>
            <ac:picMk id="10" creationId="{DBF4BA14-4B42-13BA-FEA7-352954805B90}"/>
          </ac:picMkLst>
        </pc:picChg>
      </pc:sldChg>
      <pc:sldChg chg="addSp delSp modSp new mod">
        <pc:chgData name="GISELLE JACQUELINE DOS SANTOS" userId="4b7eb9a6-35ae-4475-908c-798858f5303a" providerId="ADAL" clId="{800FBBBC-0091-4363-8F8F-DB6CFE17D07A}" dt="2024-11-16T15:06:17.603" v="4811" actId="207"/>
        <pc:sldMkLst>
          <pc:docMk/>
          <pc:sldMk cId="2492139353" sldId="276"/>
        </pc:sldMkLst>
        <pc:spChg chg="del">
          <ac:chgData name="GISELLE JACQUELINE DOS SANTOS" userId="4b7eb9a6-35ae-4475-908c-798858f5303a" providerId="ADAL" clId="{800FBBBC-0091-4363-8F8F-DB6CFE17D07A}" dt="2024-11-16T14:25:35.261" v="3340" actId="478"/>
          <ac:spMkLst>
            <pc:docMk/>
            <pc:sldMk cId="2492139353" sldId="276"/>
            <ac:spMk id="2" creationId="{91BDE7E7-451E-C3E0-45D6-F3A7211586A2}"/>
          </ac:spMkLst>
        </pc:spChg>
        <pc:spChg chg="del mod">
          <ac:chgData name="GISELLE JACQUELINE DOS SANTOS" userId="4b7eb9a6-35ae-4475-908c-798858f5303a" providerId="ADAL" clId="{800FBBBC-0091-4363-8F8F-DB6CFE17D07A}" dt="2024-11-16T14:25:37.887" v="3342" actId="478"/>
          <ac:spMkLst>
            <pc:docMk/>
            <pc:sldMk cId="2492139353" sldId="276"/>
            <ac:spMk id="3" creationId="{4B7335A3-E390-EBE5-1105-492F8B2F40C5}"/>
          </ac:spMkLst>
        </pc:spChg>
        <pc:spChg chg="del">
          <ac:chgData name="GISELLE JACQUELINE DOS SANTOS" userId="4b7eb9a6-35ae-4475-908c-798858f5303a" providerId="ADAL" clId="{800FBBBC-0091-4363-8F8F-DB6CFE17D07A}" dt="2024-11-16T14:25:36.540" v="3341" actId="478"/>
          <ac:spMkLst>
            <pc:docMk/>
            <pc:sldMk cId="2492139353" sldId="276"/>
            <ac:spMk id="4" creationId="{3CA24A3A-F5E1-BBC0-D14A-13AA5F50862C}"/>
          </ac:spMkLst>
        </pc:spChg>
        <pc:spChg chg="mod">
          <ac:chgData name="GISELLE JACQUELINE DOS SANTOS" userId="4b7eb9a6-35ae-4475-908c-798858f5303a" providerId="ADAL" clId="{800FBBBC-0091-4363-8F8F-DB6CFE17D07A}" dt="2024-11-15T16:24:44.488" v="1949"/>
          <ac:spMkLst>
            <pc:docMk/>
            <pc:sldMk cId="2492139353" sldId="276"/>
            <ac:spMk id="5" creationId="{F5811E75-55E2-ECA9-3167-BC4CBE661B47}"/>
          </ac:spMkLst>
        </pc:spChg>
        <pc:spChg chg="mod">
          <ac:chgData name="GISELLE JACQUELINE DOS SANTOS" userId="4b7eb9a6-35ae-4475-908c-798858f5303a" providerId="ADAL" clId="{800FBBBC-0091-4363-8F8F-DB6CFE17D07A}" dt="2024-11-16T15:06:17.603" v="4811" actId="207"/>
          <ac:spMkLst>
            <pc:docMk/>
            <pc:sldMk cId="2492139353" sldId="276"/>
            <ac:spMk id="6" creationId="{CE12DA82-D21A-4958-31B4-E12A5239EA6C}"/>
          </ac:spMkLst>
        </pc:spChg>
        <pc:spChg chg="mod">
          <ac:chgData name="GISELLE JACQUELINE DOS SANTOS" userId="4b7eb9a6-35ae-4475-908c-798858f5303a" providerId="ADAL" clId="{800FBBBC-0091-4363-8F8F-DB6CFE17D07A}" dt="2024-11-16T14:25:27.825" v="3339" actId="313"/>
          <ac:spMkLst>
            <pc:docMk/>
            <pc:sldMk cId="2492139353" sldId="276"/>
            <ac:spMk id="7" creationId="{39C849AD-D695-03FE-949C-CBBA452FF9AD}"/>
          </ac:spMkLst>
        </pc:spChg>
        <pc:spChg chg="del">
          <ac:chgData name="GISELLE JACQUELINE DOS SANTOS" userId="4b7eb9a6-35ae-4475-908c-798858f5303a" providerId="ADAL" clId="{800FBBBC-0091-4363-8F8F-DB6CFE17D07A}" dt="2024-11-15T16:25:07.163" v="1952" actId="931"/>
          <ac:spMkLst>
            <pc:docMk/>
            <pc:sldMk cId="2492139353" sldId="276"/>
            <ac:spMk id="8" creationId="{2AFA7D33-6455-2D14-C3CF-4DF3F1B1E4E0}"/>
          </ac:spMkLst>
        </pc:spChg>
        <pc:picChg chg="add mod">
          <ac:chgData name="GISELLE JACQUELINE DOS SANTOS" userId="4b7eb9a6-35ae-4475-908c-798858f5303a" providerId="ADAL" clId="{800FBBBC-0091-4363-8F8F-DB6CFE17D07A}" dt="2024-11-15T16:45:01.388" v="2151" actId="14100"/>
          <ac:picMkLst>
            <pc:docMk/>
            <pc:sldMk cId="2492139353" sldId="276"/>
            <ac:picMk id="10" creationId="{877B3022-0C3F-19E1-3ABB-BD5FB9DD9668}"/>
          </ac:picMkLst>
        </pc:picChg>
      </pc:sldChg>
      <pc:sldChg chg="addSp delSp modSp new mod modClrScheme chgLayout">
        <pc:chgData name="GISELLE JACQUELINE DOS SANTOS" userId="4b7eb9a6-35ae-4475-908c-798858f5303a" providerId="ADAL" clId="{800FBBBC-0091-4363-8F8F-DB6CFE17D07A}" dt="2024-11-16T15:06:13.412" v="4810" actId="207"/>
        <pc:sldMkLst>
          <pc:docMk/>
          <pc:sldMk cId="2032932548" sldId="277"/>
        </pc:sldMkLst>
        <pc:spChg chg="add del mod ord">
          <ac:chgData name="GISELLE JACQUELINE DOS SANTOS" userId="4b7eb9a6-35ae-4475-908c-798858f5303a" providerId="ADAL" clId="{800FBBBC-0091-4363-8F8F-DB6CFE17D07A}" dt="2024-11-16T14:53:56.923" v="4538" actId="478"/>
          <ac:spMkLst>
            <pc:docMk/>
            <pc:sldMk cId="2032932548" sldId="277"/>
            <ac:spMk id="2" creationId="{32B5FD11-B98E-F204-04EF-89D9662BCF96}"/>
          </ac:spMkLst>
        </pc:spChg>
        <pc:spChg chg="del mod ord">
          <ac:chgData name="GISELLE JACQUELINE DOS SANTOS" userId="4b7eb9a6-35ae-4475-908c-798858f5303a" providerId="ADAL" clId="{800FBBBC-0091-4363-8F8F-DB6CFE17D07A}" dt="2024-11-15T16:27:09.331" v="1967" actId="700"/>
          <ac:spMkLst>
            <pc:docMk/>
            <pc:sldMk cId="2032932548" sldId="277"/>
            <ac:spMk id="2" creationId="{D81A2A76-AF22-25D2-549A-1C47764F6A5E}"/>
          </ac:spMkLst>
        </pc:spChg>
        <pc:spChg chg="add del mod ord">
          <ac:chgData name="GISELLE JACQUELINE DOS SANTOS" userId="4b7eb9a6-35ae-4475-908c-798858f5303a" providerId="ADAL" clId="{800FBBBC-0091-4363-8F8F-DB6CFE17D07A}" dt="2024-11-16T14:53:58.316" v="4539" actId="478"/>
          <ac:spMkLst>
            <pc:docMk/>
            <pc:sldMk cId="2032932548" sldId="277"/>
            <ac:spMk id="3" creationId="{61A2879D-F80F-B31A-A5CA-E1004579D111}"/>
          </ac:spMkLst>
        </pc:spChg>
        <pc:spChg chg="del mod ord">
          <ac:chgData name="GISELLE JACQUELINE DOS SANTOS" userId="4b7eb9a6-35ae-4475-908c-798858f5303a" providerId="ADAL" clId="{800FBBBC-0091-4363-8F8F-DB6CFE17D07A}" dt="2024-11-15T16:27:09.331" v="1967" actId="700"/>
          <ac:spMkLst>
            <pc:docMk/>
            <pc:sldMk cId="2032932548" sldId="277"/>
            <ac:spMk id="3" creationId="{FF3AC510-20C7-5A62-8F9D-017A5527A7E8}"/>
          </ac:spMkLst>
        </pc:spChg>
        <pc:spChg chg="add del mod ord">
          <ac:chgData name="GISELLE JACQUELINE DOS SANTOS" userId="4b7eb9a6-35ae-4475-908c-798858f5303a" providerId="ADAL" clId="{800FBBBC-0091-4363-8F8F-DB6CFE17D07A}" dt="2024-11-16T14:53:59.807" v="4540" actId="478"/>
          <ac:spMkLst>
            <pc:docMk/>
            <pc:sldMk cId="2032932548" sldId="277"/>
            <ac:spMk id="4" creationId="{E45F76A5-DF57-92D6-9D28-4A0AD9752237}"/>
          </ac:spMkLst>
        </pc:spChg>
        <pc:spChg chg="del mod ord">
          <ac:chgData name="GISELLE JACQUELINE DOS SANTOS" userId="4b7eb9a6-35ae-4475-908c-798858f5303a" providerId="ADAL" clId="{800FBBBC-0091-4363-8F8F-DB6CFE17D07A}" dt="2024-11-15T16:27:09.331" v="1967" actId="700"/>
          <ac:spMkLst>
            <pc:docMk/>
            <pc:sldMk cId="2032932548" sldId="277"/>
            <ac:spMk id="4" creationId="{FE6A983C-E653-9950-9CD3-21E6926D9A91}"/>
          </ac:spMkLst>
        </pc:spChg>
        <pc:spChg chg="mod ord">
          <ac:chgData name="GISELLE JACQUELINE DOS SANTOS" userId="4b7eb9a6-35ae-4475-908c-798858f5303a" providerId="ADAL" clId="{800FBBBC-0091-4363-8F8F-DB6CFE17D07A}" dt="2024-11-16T14:28:06.844" v="3346" actId="700"/>
          <ac:spMkLst>
            <pc:docMk/>
            <pc:sldMk cId="2032932548" sldId="277"/>
            <ac:spMk id="5" creationId="{D9C22255-B73D-EC89-4397-8348299C1905}"/>
          </ac:spMkLst>
        </pc:spChg>
        <pc:spChg chg="mod ord">
          <ac:chgData name="GISELLE JACQUELINE DOS SANTOS" userId="4b7eb9a6-35ae-4475-908c-798858f5303a" providerId="ADAL" clId="{800FBBBC-0091-4363-8F8F-DB6CFE17D07A}" dt="2024-11-16T15:06:13.412" v="4810" actId="207"/>
          <ac:spMkLst>
            <pc:docMk/>
            <pc:sldMk cId="2032932548" sldId="277"/>
            <ac:spMk id="6" creationId="{A2FAAC6C-87F9-EBE3-B4CD-432691B085B8}"/>
          </ac:spMkLst>
        </pc:spChg>
        <pc:spChg chg="mod ord">
          <ac:chgData name="GISELLE JACQUELINE DOS SANTOS" userId="4b7eb9a6-35ae-4475-908c-798858f5303a" providerId="ADAL" clId="{800FBBBC-0091-4363-8F8F-DB6CFE17D07A}" dt="2024-11-16T14:36:13.264" v="4042" actId="404"/>
          <ac:spMkLst>
            <pc:docMk/>
            <pc:sldMk cId="2032932548" sldId="277"/>
            <ac:spMk id="7" creationId="{1B416393-E8E2-EBCF-5EC6-393D2F47D98A}"/>
          </ac:spMkLst>
        </pc:spChg>
        <pc:spChg chg="add mod ord">
          <ac:chgData name="GISELLE JACQUELINE DOS SANTOS" userId="4b7eb9a6-35ae-4475-908c-798858f5303a" providerId="ADAL" clId="{800FBBBC-0091-4363-8F8F-DB6CFE17D07A}" dt="2024-11-16T14:53:41.130" v="4536" actId="20577"/>
          <ac:spMkLst>
            <pc:docMk/>
            <pc:sldMk cId="2032932548" sldId="277"/>
            <ac:spMk id="8" creationId="{0DDE1FE6-7669-8E64-BFEB-D2C245575379}"/>
          </ac:spMkLst>
        </pc:spChg>
        <pc:spChg chg="del">
          <ac:chgData name="GISELLE JACQUELINE DOS SANTOS" userId="4b7eb9a6-35ae-4475-908c-798858f5303a" providerId="ADAL" clId="{800FBBBC-0091-4363-8F8F-DB6CFE17D07A}" dt="2024-11-15T16:27:09.331" v="1967" actId="700"/>
          <ac:spMkLst>
            <pc:docMk/>
            <pc:sldMk cId="2032932548" sldId="277"/>
            <ac:spMk id="8" creationId="{E817A49B-0583-624D-D3C6-D2C66D49FADB}"/>
          </ac:spMkLst>
        </pc:spChg>
        <pc:spChg chg="add del mod ord">
          <ac:chgData name="GISELLE JACQUELINE DOS SANTOS" userId="4b7eb9a6-35ae-4475-908c-798858f5303a" providerId="ADAL" clId="{800FBBBC-0091-4363-8F8F-DB6CFE17D07A}" dt="2024-11-16T14:25:44.433" v="3343" actId="478"/>
          <ac:spMkLst>
            <pc:docMk/>
            <pc:sldMk cId="2032932548" sldId="277"/>
            <ac:spMk id="9" creationId="{0C3F68E2-915E-E8A2-698A-0FB22CABEB2A}"/>
          </ac:spMkLst>
        </pc:spChg>
        <pc:spChg chg="add del mod ord">
          <ac:chgData name="GISELLE JACQUELINE DOS SANTOS" userId="4b7eb9a6-35ae-4475-908c-798858f5303a" providerId="ADAL" clId="{800FBBBC-0091-4363-8F8F-DB6CFE17D07A}" dt="2024-11-16T14:25:50.385" v="3344" actId="478"/>
          <ac:spMkLst>
            <pc:docMk/>
            <pc:sldMk cId="2032932548" sldId="277"/>
            <ac:spMk id="10" creationId="{83CB5272-28D4-DD16-9E10-4D4AEACD4920}"/>
          </ac:spMkLst>
        </pc:spChg>
        <pc:spChg chg="add del mod ord">
          <ac:chgData name="GISELLE JACQUELINE DOS SANTOS" userId="4b7eb9a6-35ae-4475-908c-798858f5303a" providerId="ADAL" clId="{800FBBBC-0091-4363-8F8F-DB6CFE17D07A}" dt="2024-11-16T14:25:52.047" v="3345" actId="478"/>
          <ac:spMkLst>
            <pc:docMk/>
            <pc:sldMk cId="2032932548" sldId="277"/>
            <ac:spMk id="11" creationId="{EA907A2D-DF58-C9F3-3BD3-EFF2511B3D8A}"/>
          </ac:spMkLst>
        </pc:spChg>
      </pc:sldChg>
      <pc:sldChg chg="addSp delSp modSp new mod">
        <pc:chgData name="GISELLE JACQUELINE DOS SANTOS" userId="4b7eb9a6-35ae-4475-908c-798858f5303a" providerId="ADAL" clId="{800FBBBC-0091-4363-8F8F-DB6CFE17D07A}" dt="2024-11-16T15:06:04.740" v="4809" actId="207"/>
        <pc:sldMkLst>
          <pc:docMk/>
          <pc:sldMk cId="3410546480" sldId="278"/>
        </pc:sldMkLst>
        <pc:spChg chg="del">
          <ac:chgData name="GISELLE JACQUELINE DOS SANTOS" userId="4b7eb9a6-35ae-4475-908c-798858f5303a" providerId="ADAL" clId="{800FBBBC-0091-4363-8F8F-DB6CFE17D07A}" dt="2024-11-16T15:02:41.664" v="4747" actId="478"/>
          <ac:spMkLst>
            <pc:docMk/>
            <pc:sldMk cId="3410546480" sldId="278"/>
            <ac:spMk id="2" creationId="{B9646C34-3B70-22E6-3E86-E5CF999E542E}"/>
          </ac:spMkLst>
        </pc:spChg>
        <pc:spChg chg="del mod">
          <ac:chgData name="GISELLE JACQUELINE DOS SANTOS" userId="4b7eb9a6-35ae-4475-908c-798858f5303a" providerId="ADAL" clId="{800FBBBC-0091-4363-8F8F-DB6CFE17D07A}" dt="2024-11-16T15:02:43.541" v="4749" actId="478"/>
          <ac:spMkLst>
            <pc:docMk/>
            <pc:sldMk cId="3410546480" sldId="278"/>
            <ac:spMk id="3" creationId="{4A5BB96B-B7CC-95E3-F526-D718C1C03EDD}"/>
          </ac:spMkLst>
        </pc:spChg>
        <pc:spChg chg="del">
          <ac:chgData name="GISELLE JACQUELINE DOS SANTOS" userId="4b7eb9a6-35ae-4475-908c-798858f5303a" providerId="ADAL" clId="{800FBBBC-0091-4363-8F8F-DB6CFE17D07A}" dt="2024-11-16T15:02:42.207" v="4748" actId="478"/>
          <ac:spMkLst>
            <pc:docMk/>
            <pc:sldMk cId="3410546480" sldId="278"/>
            <ac:spMk id="4" creationId="{40825D66-C8C0-A99B-5B44-4475BE923F2A}"/>
          </ac:spMkLst>
        </pc:spChg>
        <pc:spChg chg="mod">
          <ac:chgData name="GISELLE JACQUELINE DOS SANTOS" userId="4b7eb9a6-35ae-4475-908c-798858f5303a" providerId="ADAL" clId="{800FBBBC-0091-4363-8F8F-DB6CFE17D07A}" dt="2024-11-16T14:56:48.225" v="4664" actId="20577"/>
          <ac:spMkLst>
            <pc:docMk/>
            <pc:sldMk cId="3410546480" sldId="278"/>
            <ac:spMk id="5" creationId="{DF15AEB9-AC0C-3645-2ECA-C387FF2213C7}"/>
          </ac:spMkLst>
        </pc:spChg>
        <pc:spChg chg="mod">
          <ac:chgData name="GISELLE JACQUELINE DOS SANTOS" userId="4b7eb9a6-35ae-4475-908c-798858f5303a" providerId="ADAL" clId="{800FBBBC-0091-4363-8F8F-DB6CFE17D07A}" dt="2024-11-16T15:06:04.740" v="4809" actId="207"/>
          <ac:spMkLst>
            <pc:docMk/>
            <pc:sldMk cId="3410546480" sldId="278"/>
            <ac:spMk id="6" creationId="{38F05AD4-778E-F00B-FE5D-3B182BF2FB2E}"/>
          </ac:spMkLst>
        </pc:spChg>
        <pc:spChg chg="add del mod">
          <ac:chgData name="GISELLE JACQUELINE DOS SANTOS" userId="4b7eb9a6-35ae-4475-908c-798858f5303a" providerId="ADAL" clId="{800FBBBC-0091-4363-8F8F-DB6CFE17D07A}" dt="2024-11-16T15:03:25.406" v="4770" actId="14100"/>
          <ac:spMkLst>
            <pc:docMk/>
            <pc:sldMk cId="3410546480" sldId="278"/>
            <ac:spMk id="7" creationId="{A419B003-14B3-F93D-E9D5-0EF0ED8CE365}"/>
          </ac:spMkLst>
        </pc:spChg>
        <pc:spChg chg="del">
          <ac:chgData name="GISELLE JACQUELINE DOS SANTOS" userId="4b7eb9a6-35ae-4475-908c-798858f5303a" providerId="ADAL" clId="{800FBBBC-0091-4363-8F8F-DB6CFE17D07A}" dt="2024-11-15T16:28:19.085" v="1989" actId="931"/>
          <ac:spMkLst>
            <pc:docMk/>
            <pc:sldMk cId="3410546480" sldId="278"/>
            <ac:spMk id="8" creationId="{A26D46CE-0261-1425-2B19-6CEFE695F111}"/>
          </ac:spMkLst>
        </pc:spChg>
        <pc:picChg chg="add del mod ord">
          <ac:chgData name="GISELLE JACQUELINE DOS SANTOS" userId="4b7eb9a6-35ae-4475-908c-798858f5303a" providerId="ADAL" clId="{800FBBBC-0091-4363-8F8F-DB6CFE17D07A}" dt="2024-11-16T14:58:52.319" v="4669" actId="34307"/>
          <ac:picMkLst>
            <pc:docMk/>
            <pc:sldMk cId="3410546480" sldId="278"/>
            <ac:picMk id="8" creationId="{B7C4E1F9-969B-CF2B-8EB7-0FCFAD164672}"/>
          </ac:picMkLst>
        </pc:picChg>
        <pc:picChg chg="add mod">
          <ac:chgData name="GISELLE JACQUELINE DOS SANTOS" userId="4b7eb9a6-35ae-4475-908c-798858f5303a" providerId="ADAL" clId="{800FBBBC-0091-4363-8F8F-DB6CFE17D07A}" dt="2024-11-15T16:45:20.242" v="2157" actId="1076"/>
          <ac:picMkLst>
            <pc:docMk/>
            <pc:sldMk cId="3410546480" sldId="278"/>
            <ac:picMk id="10" creationId="{088885EE-D026-E21A-135F-603B56DF71F3}"/>
          </ac:picMkLst>
        </pc:picChg>
      </pc:sldChg>
      <pc:sldChg chg="addSp delSp modSp new del mod modClrScheme chgLayout">
        <pc:chgData name="GISELLE JACQUELINE DOS SANTOS" userId="4b7eb9a6-35ae-4475-908c-798858f5303a" providerId="ADAL" clId="{800FBBBC-0091-4363-8F8F-DB6CFE17D07A}" dt="2024-11-16T15:04:19.526" v="4771" actId="47"/>
        <pc:sldMkLst>
          <pc:docMk/>
          <pc:sldMk cId="2350400154" sldId="279"/>
        </pc:sldMkLst>
        <pc:spChg chg="del mod ord">
          <ac:chgData name="GISELLE JACQUELINE DOS SANTOS" userId="4b7eb9a6-35ae-4475-908c-798858f5303a" providerId="ADAL" clId="{800FBBBC-0091-4363-8F8F-DB6CFE17D07A}" dt="2024-11-15T16:30:13.990" v="1999" actId="700"/>
          <ac:spMkLst>
            <pc:docMk/>
            <pc:sldMk cId="2350400154" sldId="279"/>
            <ac:spMk id="2" creationId="{08C93019-C1DE-3485-BB4B-62C25904FD60}"/>
          </ac:spMkLst>
        </pc:spChg>
        <pc:spChg chg="del mod ord">
          <ac:chgData name="GISELLE JACQUELINE DOS SANTOS" userId="4b7eb9a6-35ae-4475-908c-798858f5303a" providerId="ADAL" clId="{800FBBBC-0091-4363-8F8F-DB6CFE17D07A}" dt="2024-11-15T16:30:13.990" v="1999" actId="700"/>
          <ac:spMkLst>
            <pc:docMk/>
            <pc:sldMk cId="2350400154" sldId="279"/>
            <ac:spMk id="3" creationId="{E61782D4-0ECB-9A94-31E3-54F120817879}"/>
          </ac:spMkLst>
        </pc:spChg>
        <pc:spChg chg="del mod ord">
          <ac:chgData name="GISELLE JACQUELINE DOS SANTOS" userId="4b7eb9a6-35ae-4475-908c-798858f5303a" providerId="ADAL" clId="{800FBBBC-0091-4363-8F8F-DB6CFE17D07A}" dt="2024-11-15T16:30:13.990" v="1999" actId="700"/>
          <ac:spMkLst>
            <pc:docMk/>
            <pc:sldMk cId="2350400154" sldId="279"/>
            <ac:spMk id="4" creationId="{E5812994-CBA2-DEC0-56F4-CD15862F249E}"/>
          </ac:spMkLst>
        </pc:spChg>
        <pc:spChg chg="del mod ord">
          <ac:chgData name="GISELLE JACQUELINE DOS SANTOS" userId="4b7eb9a6-35ae-4475-908c-798858f5303a" providerId="ADAL" clId="{800FBBBC-0091-4363-8F8F-DB6CFE17D07A}" dt="2024-11-15T16:30:13.990" v="1999" actId="700"/>
          <ac:spMkLst>
            <pc:docMk/>
            <pc:sldMk cId="2350400154" sldId="279"/>
            <ac:spMk id="5" creationId="{D6995DB4-E297-A594-FFE6-398CA8B2E251}"/>
          </ac:spMkLst>
        </pc:spChg>
        <pc:spChg chg="mod ord">
          <ac:chgData name="GISELLE JACQUELINE DOS SANTOS" userId="4b7eb9a6-35ae-4475-908c-798858f5303a" providerId="ADAL" clId="{800FBBBC-0091-4363-8F8F-DB6CFE17D07A}" dt="2024-11-15T16:30:13.990" v="1999" actId="700"/>
          <ac:spMkLst>
            <pc:docMk/>
            <pc:sldMk cId="2350400154" sldId="279"/>
            <ac:spMk id="6" creationId="{43266BAE-BBF8-EEAD-EBDC-2421EA247BF5}"/>
          </ac:spMkLst>
        </pc:spChg>
        <pc:spChg chg="mod ord">
          <ac:chgData name="GISELLE JACQUELINE DOS SANTOS" userId="4b7eb9a6-35ae-4475-908c-798858f5303a" providerId="ADAL" clId="{800FBBBC-0091-4363-8F8F-DB6CFE17D07A}" dt="2024-11-15T16:30:13.990" v="1999" actId="700"/>
          <ac:spMkLst>
            <pc:docMk/>
            <pc:sldMk cId="2350400154" sldId="279"/>
            <ac:spMk id="7" creationId="{981E0415-E3D8-6A30-1AFD-FC6573A61CF6}"/>
          </ac:spMkLst>
        </pc:spChg>
        <pc:spChg chg="del">
          <ac:chgData name="GISELLE JACQUELINE DOS SANTOS" userId="4b7eb9a6-35ae-4475-908c-798858f5303a" providerId="ADAL" clId="{800FBBBC-0091-4363-8F8F-DB6CFE17D07A}" dt="2024-11-15T16:30:13.990" v="1999" actId="700"/>
          <ac:spMkLst>
            <pc:docMk/>
            <pc:sldMk cId="2350400154" sldId="279"/>
            <ac:spMk id="8" creationId="{EDC807E7-DFFE-0912-C7B9-06CAEDA64F97}"/>
          </ac:spMkLst>
        </pc:spChg>
        <pc:spChg chg="add mod ord">
          <ac:chgData name="GISELLE JACQUELINE DOS SANTOS" userId="4b7eb9a6-35ae-4475-908c-798858f5303a" providerId="ADAL" clId="{800FBBBC-0091-4363-8F8F-DB6CFE17D07A}" dt="2024-11-15T16:30:13.990" v="1999" actId="700"/>
          <ac:spMkLst>
            <pc:docMk/>
            <pc:sldMk cId="2350400154" sldId="279"/>
            <ac:spMk id="9" creationId="{2D0F9683-1812-7D9A-3E01-FA96AC917137}"/>
          </ac:spMkLst>
        </pc:spChg>
        <pc:spChg chg="add mod ord">
          <ac:chgData name="GISELLE JACQUELINE DOS SANTOS" userId="4b7eb9a6-35ae-4475-908c-798858f5303a" providerId="ADAL" clId="{800FBBBC-0091-4363-8F8F-DB6CFE17D07A}" dt="2024-11-15T16:30:13.990" v="1999" actId="700"/>
          <ac:spMkLst>
            <pc:docMk/>
            <pc:sldMk cId="2350400154" sldId="279"/>
            <ac:spMk id="10" creationId="{6A4ED022-DE97-87C5-C199-92A8F91837BC}"/>
          </ac:spMkLst>
        </pc:spChg>
        <pc:spChg chg="add mod ord">
          <ac:chgData name="GISELLE JACQUELINE DOS SANTOS" userId="4b7eb9a6-35ae-4475-908c-798858f5303a" providerId="ADAL" clId="{800FBBBC-0091-4363-8F8F-DB6CFE17D07A}" dt="2024-11-15T16:30:13.990" v="1999" actId="700"/>
          <ac:spMkLst>
            <pc:docMk/>
            <pc:sldMk cId="2350400154" sldId="279"/>
            <ac:spMk id="11" creationId="{8C199D56-D575-8832-01C7-1CAA9F9BD14D}"/>
          </ac:spMkLst>
        </pc:spChg>
        <pc:spChg chg="add mod ord">
          <ac:chgData name="GISELLE JACQUELINE DOS SANTOS" userId="4b7eb9a6-35ae-4475-908c-798858f5303a" providerId="ADAL" clId="{800FBBBC-0091-4363-8F8F-DB6CFE17D07A}" dt="2024-11-15T16:30:13.990" v="1999" actId="700"/>
          <ac:spMkLst>
            <pc:docMk/>
            <pc:sldMk cId="2350400154" sldId="279"/>
            <ac:spMk id="12" creationId="{B6985C96-ACF3-6DF9-76DC-1A045DF35399}"/>
          </ac:spMkLst>
        </pc:spChg>
      </pc:sldChg>
      <pc:sldChg chg="modSp add del mod modShow">
        <pc:chgData name="GISELLE JACQUELINE DOS SANTOS" userId="4b7eb9a6-35ae-4475-908c-798858f5303a" providerId="ADAL" clId="{800FBBBC-0091-4363-8F8F-DB6CFE17D07A}" dt="2024-11-16T14:53:53.807" v="4537" actId="47"/>
        <pc:sldMkLst>
          <pc:docMk/>
          <pc:sldMk cId="2744178455" sldId="280"/>
        </pc:sldMkLst>
        <pc:spChg chg="mod">
          <ac:chgData name="GISELLE JACQUELINE DOS SANTOS" userId="4b7eb9a6-35ae-4475-908c-798858f5303a" providerId="ADAL" clId="{800FBBBC-0091-4363-8F8F-DB6CFE17D07A}" dt="2024-11-16T14:28:16.033" v="3348" actId="27636"/>
          <ac:spMkLst>
            <pc:docMk/>
            <pc:sldMk cId="2744178455" sldId="280"/>
            <ac:spMk id="4" creationId="{E45F76A5-DF57-92D6-9D28-4A0AD975223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6F2098-59CB-D1B2-86ED-1A9B4AF64B6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A414D42-BB6C-EE42-F9A0-DA171E7EE38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2759B4-A935-478A-BA3B-80C8C9BC2F8B}" type="datetimeFigureOut">
              <a:rPr lang="en-US"/>
              <a:t>11/16/2024</a:t>
            </a:fld>
            <a:endParaRPr lang="en-US"/>
          </a:p>
        </p:txBody>
      </p:sp>
      <p:sp>
        <p:nvSpPr>
          <p:cNvPr id="4" name="Footer Placeholder 3">
            <a:extLst>
              <a:ext uri="{FF2B5EF4-FFF2-40B4-BE49-F238E27FC236}">
                <a16:creationId xmlns:a16="http://schemas.microsoft.com/office/drawing/2014/main" id="{20EC4023-C109-57A7-27A1-49048308AAC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19950120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3CE7A3-7713-4DF3-BD2C-E4D878CC91D3}" type="datetimeFigureOut">
              <a:rPr lang="en-US"/>
              <a:t>1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7A77D-26C0-47ED-8326-6E2E52FDAAB8}" type="slidenum">
              <a:rPr lang="en-US"/>
              <a:t>‹#›</a:t>
            </a:fld>
            <a:endParaRPr lang="en-US"/>
          </a:p>
        </p:txBody>
      </p:sp>
    </p:spTree>
    <p:extLst>
      <p:ext uri="{BB962C8B-B14F-4D97-AF65-F5344CB8AC3E}">
        <p14:creationId xmlns:p14="http://schemas.microsoft.com/office/powerpoint/2010/main" val="1084390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07A77D-26C0-47ED-8326-6E2E52FDAAB8}" type="slidenum">
              <a:rPr lang="en-US" smtClean="0"/>
              <a:t>1</a:t>
            </a:fld>
            <a:endParaRPr lang="en-US"/>
          </a:p>
        </p:txBody>
      </p:sp>
    </p:spTree>
    <p:extLst>
      <p:ext uri="{BB962C8B-B14F-4D97-AF65-F5344CB8AC3E}">
        <p14:creationId xmlns:p14="http://schemas.microsoft.com/office/powerpoint/2010/main" val="1814324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4.xml"/><Relationship Id="rId7" Type="http://schemas.openxmlformats.org/officeDocument/2006/relationships/image" Target="../media/image15.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25.xml"/><Relationship Id="rId9" Type="http://schemas.openxmlformats.org/officeDocument/2006/relationships/image" Target="../media/image17.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8.xml"/><Relationship Id="rId7" Type="http://schemas.openxmlformats.org/officeDocument/2006/relationships/image" Target="../media/image15.sv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image" Target="../media/image17.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4.xml"/><Relationship Id="rId7" Type="http://schemas.openxmlformats.org/officeDocument/2006/relationships/image" Target="../media/image19.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8.png"/><Relationship Id="rId11" Type="http://schemas.openxmlformats.org/officeDocument/2006/relationships/image" Target="../media/image17.svg"/><Relationship Id="rId5" Type="http://schemas.openxmlformats.org/officeDocument/2006/relationships/slideMaster" Target="../slideMasters/slideMaster1.xml"/><Relationship Id="rId10" Type="http://schemas.openxmlformats.org/officeDocument/2006/relationships/image" Target="../media/image16.png"/><Relationship Id="rId4" Type="http://schemas.openxmlformats.org/officeDocument/2006/relationships/tags" Target="../tags/tag35.xml"/><Relationship Id="rId9"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19.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8.png"/><Relationship Id="rId11" Type="http://schemas.openxmlformats.org/officeDocument/2006/relationships/image" Target="../media/image17.svg"/><Relationship Id="rId5" Type="http://schemas.openxmlformats.org/officeDocument/2006/relationships/slideMaster" Target="../slideMasters/slideMaster1.xml"/><Relationship Id="rId10" Type="http://schemas.openxmlformats.org/officeDocument/2006/relationships/image" Target="../media/image16.png"/><Relationship Id="rId4" Type="http://schemas.openxmlformats.org/officeDocument/2006/relationships/tags" Target="../tags/tag39.xml"/><Relationship Id="rId9" Type="http://schemas.openxmlformats.org/officeDocument/2006/relationships/image" Target="../media/image15.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7.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7.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7.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xml"/><Relationship Id="rId7" Type="http://schemas.openxmlformats.org/officeDocument/2006/relationships/image" Target="../media/image7.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0.xml"/><Relationship Id="rId7" Type="http://schemas.openxmlformats.org/officeDocument/2006/relationships/image" Target="../media/image19.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8.png"/><Relationship Id="rId5" Type="http://schemas.openxmlformats.org/officeDocument/2006/relationships/slideMaster" Target="../slideMasters/slideMaster1.xml"/><Relationship Id="rId10" Type="http://schemas.openxmlformats.org/officeDocument/2006/relationships/image" Target="../media/image8.png"/><Relationship Id="rId4" Type="http://schemas.openxmlformats.org/officeDocument/2006/relationships/tags" Target="../tags/tag61.xml"/><Relationship Id="rId9"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4.xml"/><Relationship Id="rId7" Type="http://schemas.openxmlformats.org/officeDocument/2006/relationships/image" Target="../media/image19.sv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slideMaster" Target="../slideMasters/slideMaster1.xml"/><Relationship Id="rId10" Type="http://schemas.openxmlformats.org/officeDocument/2006/relationships/image" Target="../media/image8.png"/><Relationship Id="rId4" Type="http://schemas.openxmlformats.org/officeDocument/2006/relationships/tags" Target="../tags/tag65.xml"/><Relationship Id="rId9" Type="http://schemas.openxmlformats.org/officeDocument/2006/relationships/image" Target="../media/image7.sv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xml"/><Relationship Id="rId7" Type="http://schemas.openxmlformats.org/officeDocument/2006/relationships/image" Target="../media/image15.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17.sv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2.svg"/><Relationship Id="rId10" Type="http://schemas.openxmlformats.org/officeDocument/2006/relationships/image" Target="../media/image10.png"/><Relationship Id="rId4" Type="http://schemas.openxmlformats.org/officeDocument/2006/relationships/image" Target="../media/image1.png"/><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6.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3.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2.png"/><Relationship Id="rId5" Type="http://schemas.openxmlformats.org/officeDocument/2006/relationships/image" Target="../media/image12.svg"/><Relationship Id="rId10" Type="http://schemas.openxmlformats.org/officeDocument/2006/relationships/image" Target="../media/image8.png"/><Relationship Id="rId4" Type="http://schemas.openxmlformats.org/officeDocument/2006/relationships/image" Target="../media/image11.png"/><Relationship Id="rId9" Type="http://schemas.openxmlformats.org/officeDocument/2006/relationships/image" Target="../media/image7.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png"/><Relationship Id="rId5" Type="http://schemas.openxmlformats.org/officeDocument/2006/relationships/image" Target="../media/image12.svg"/><Relationship Id="rId10" Type="http://schemas.openxmlformats.org/officeDocument/2006/relationships/image" Target="../media/image19.svg"/><Relationship Id="rId4" Type="http://schemas.openxmlformats.org/officeDocument/2006/relationships/image" Target="../media/image11.png"/><Relationship Id="rId9"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6.png"/><Relationship Id="rId5" Type="http://schemas.openxmlformats.org/officeDocument/2006/relationships/image" Target="../media/image12.svg"/><Relationship Id="rId10" Type="http://schemas.openxmlformats.org/officeDocument/2006/relationships/image" Target="../media/image19.svg"/><Relationship Id="rId4" Type="http://schemas.openxmlformats.org/officeDocument/2006/relationships/image" Target="../media/image11.png"/><Relationship Id="rId9" Type="http://schemas.openxmlformats.org/officeDocument/2006/relationships/image" Target="../media/image18.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00.xml"/><Relationship Id="rId7" Type="http://schemas.openxmlformats.org/officeDocument/2006/relationships/image" Target="../media/image15.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01.xml"/><Relationship Id="rId9" Type="http://schemas.openxmlformats.org/officeDocument/2006/relationships/image" Target="../media/image17.sv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04.xml"/><Relationship Id="rId7" Type="http://schemas.openxmlformats.org/officeDocument/2006/relationships/image" Target="../media/image15.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05.xml"/><Relationship Id="rId9" Type="http://schemas.openxmlformats.org/officeDocument/2006/relationships/image" Target="../media/image17.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2.svg"/><Relationship Id="rId10" Type="http://schemas.openxmlformats.org/officeDocument/2006/relationships/image" Target="../media/image10.png"/><Relationship Id="rId4" Type="http://schemas.openxmlformats.org/officeDocument/2006/relationships/image" Target="../media/image11.png"/><Relationship Id="rId9"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08.xml"/><Relationship Id="rId7" Type="http://schemas.openxmlformats.org/officeDocument/2006/relationships/image" Target="../media/image15.sv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09.xml"/><Relationship Id="rId9" Type="http://schemas.openxmlformats.org/officeDocument/2006/relationships/image" Target="../media/image17.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2.xml"/><Relationship Id="rId7" Type="http://schemas.openxmlformats.org/officeDocument/2006/relationships/image" Target="../media/image15.sv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13.xml"/><Relationship Id="rId9" Type="http://schemas.openxmlformats.org/officeDocument/2006/relationships/image" Target="../media/image17.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6.xml"/><Relationship Id="rId7" Type="http://schemas.openxmlformats.org/officeDocument/2006/relationships/image" Target="../media/image15.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17.xml"/><Relationship Id="rId9" Type="http://schemas.openxmlformats.org/officeDocument/2006/relationships/image" Target="../media/image17.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0.xml"/><Relationship Id="rId7" Type="http://schemas.openxmlformats.org/officeDocument/2006/relationships/image" Target="../media/image15.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21.xml"/><Relationship Id="rId9" Type="http://schemas.openxmlformats.org/officeDocument/2006/relationships/image" Target="../media/image17.sv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4.xml"/><Relationship Id="rId7" Type="http://schemas.openxmlformats.org/officeDocument/2006/relationships/image" Target="../media/image15.sv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25.xml"/><Relationship Id="rId9" Type="http://schemas.openxmlformats.org/officeDocument/2006/relationships/image" Target="../media/image17.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8.xml"/><Relationship Id="rId7" Type="http://schemas.openxmlformats.org/officeDocument/2006/relationships/image" Target="../media/image15.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29.xml"/><Relationship Id="rId9" Type="http://schemas.openxmlformats.org/officeDocument/2006/relationships/image" Target="../media/image17.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32.xml"/><Relationship Id="rId7" Type="http://schemas.openxmlformats.org/officeDocument/2006/relationships/image" Target="../media/image15.sv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33.xml"/><Relationship Id="rId9" Type="http://schemas.openxmlformats.org/officeDocument/2006/relationships/image" Target="../media/image17.sv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36.xml"/><Relationship Id="rId7" Type="http://schemas.openxmlformats.org/officeDocument/2006/relationships/image" Target="../media/image15.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37.xml"/><Relationship Id="rId9" Type="http://schemas.openxmlformats.org/officeDocument/2006/relationships/image" Target="../media/image17.sv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40.xml"/><Relationship Id="rId7" Type="http://schemas.openxmlformats.org/officeDocument/2006/relationships/image" Target="../media/image15.sv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41.xml"/><Relationship Id="rId9" Type="http://schemas.openxmlformats.org/officeDocument/2006/relationships/image" Target="../media/image17.sv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44.xml"/><Relationship Id="rId7" Type="http://schemas.openxmlformats.org/officeDocument/2006/relationships/image" Target="../media/image15.sv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45.xml"/><Relationship Id="rId9" Type="http://schemas.openxmlformats.org/officeDocument/2006/relationships/image" Target="../media/image17.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png"/><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48.xml"/><Relationship Id="rId7" Type="http://schemas.openxmlformats.org/officeDocument/2006/relationships/image" Target="../media/image15.sv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49.xml"/><Relationship Id="rId9" Type="http://schemas.openxmlformats.org/officeDocument/2006/relationships/image" Target="../media/image17.sv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52.xml"/><Relationship Id="rId7" Type="http://schemas.openxmlformats.org/officeDocument/2006/relationships/image" Target="../media/image15.sv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53.xml"/><Relationship Id="rId9" Type="http://schemas.openxmlformats.org/officeDocument/2006/relationships/image" Target="../media/image17.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56.xml"/><Relationship Id="rId7" Type="http://schemas.openxmlformats.org/officeDocument/2006/relationships/image" Target="../media/image15.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57.xml"/><Relationship Id="rId9" Type="http://schemas.openxmlformats.org/officeDocument/2006/relationships/image" Target="../media/image17.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60.xml"/><Relationship Id="rId7" Type="http://schemas.openxmlformats.org/officeDocument/2006/relationships/image" Target="../media/image15.sv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61.xml"/><Relationship Id="rId9" Type="http://schemas.openxmlformats.org/officeDocument/2006/relationships/image" Target="../media/image17.sv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64.xml"/><Relationship Id="rId7" Type="http://schemas.openxmlformats.org/officeDocument/2006/relationships/image" Target="../media/image15.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65.xml"/><Relationship Id="rId9" Type="http://schemas.openxmlformats.org/officeDocument/2006/relationships/image" Target="../media/image17.sv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68.xml"/><Relationship Id="rId7" Type="http://schemas.openxmlformats.org/officeDocument/2006/relationships/image" Target="../media/image15.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69.xml"/><Relationship Id="rId9" Type="http://schemas.openxmlformats.org/officeDocument/2006/relationships/image" Target="../media/image17.sv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2.xml"/><Relationship Id="rId7" Type="http://schemas.openxmlformats.org/officeDocument/2006/relationships/image" Target="../media/image15.sv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73.xml"/><Relationship Id="rId9" Type="http://schemas.openxmlformats.org/officeDocument/2006/relationships/image" Target="../media/image17.sv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6.xml"/><Relationship Id="rId7" Type="http://schemas.openxmlformats.org/officeDocument/2006/relationships/image" Target="../media/image15.sv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77.xml"/><Relationship Id="rId9" Type="http://schemas.openxmlformats.org/officeDocument/2006/relationships/image" Target="../media/image17.sv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0.xml"/><Relationship Id="rId7" Type="http://schemas.openxmlformats.org/officeDocument/2006/relationships/image" Target="../media/image15.sv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81.xml"/><Relationship Id="rId9" Type="http://schemas.openxmlformats.org/officeDocument/2006/relationships/image" Target="../media/image17.sv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4.xml"/><Relationship Id="rId7" Type="http://schemas.openxmlformats.org/officeDocument/2006/relationships/image" Target="../media/image15.sv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85.xml"/><Relationship Id="rId9" Type="http://schemas.openxmlformats.org/officeDocument/2006/relationships/image" Target="../media/image17.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tags" Target="../tags/tag188.xml"/><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17.svg"/><Relationship Id="rId2" Type="http://schemas.openxmlformats.org/officeDocument/2006/relationships/tags" Target="../tags/tag187.xml"/><Relationship Id="rId16" Type="http://schemas.openxmlformats.org/officeDocument/2006/relationships/image" Target="../media/image16.png"/><Relationship Id="rId1" Type="http://schemas.openxmlformats.org/officeDocument/2006/relationships/tags" Target="../tags/tag186.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slideMaster" Target="../slideMasters/slideMaster1.xml"/><Relationship Id="rId15" Type="http://schemas.openxmlformats.org/officeDocument/2006/relationships/image" Target="../media/image15.svg"/><Relationship Id="rId10" Type="http://schemas.openxmlformats.org/officeDocument/2006/relationships/image" Target="../media/image28.png"/><Relationship Id="rId4" Type="http://schemas.openxmlformats.org/officeDocument/2006/relationships/tags" Target="../tags/tag189.xml"/><Relationship Id="rId9" Type="http://schemas.openxmlformats.org/officeDocument/2006/relationships/image" Target="../media/image27.svg"/><Relationship Id="rId1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tags" Target="../tags/tag192.xml"/><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17.svg"/><Relationship Id="rId2" Type="http://schemas.openxmlformats.org/officeDocument/2006/relationships/tags" Target="../tags/tag191.xml"/><Relationship Id="rId16" Type="http://schemas.openxmlformats.org/officeDocument/2006/relationships/image" Target="../media/image16.png"/><Relationship Id="rId1" Type="http://schemas.openxmlformats.org/officeDocument/2006/relationships/tags" Target="../tags/tag190.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slideMaster" Target="../slideMasters/slideMaster1.xml"/><Relationship Id="rId15" Type="http://schemas.openxmlformats.org/officeDocument/2006/relationships/image" Target="../media/image15.svg"/><Relationship Id="rId10" Type="http://schemas.openxmlformats.org/officeDocument/2006/relationships/image" Target="../media/image28.png"/><Relationship Id="rId4" Type="http://schemas.openxmlformats.org/officeDocument/2006/relationships/tags" Target="../tags/tag193.xml"/><Relationship Id="rId9" Type="http://schemas.openxmlformats.org/officeDocument/2006/relationships/image" Target="../media/image27.svg"/><Relationship Id="rId1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tags" Target="../tags/tag196.xml"/><Relationship Id="rId7" Type="http://schemas.openxmlformats.org/officeDocument/2006/relationships/image" Target="../media/image25.svg"/><Relationship Id="rId12" Type="http://schemas.openxmlformats.org/officeDocument/2006/relationships/image" Target="../media/image36.png"/><Relationship Id="rId17" Type="http://schemas.openxmlformats.org/officeDocument/2006/relationships/image" Target="../media/image17.svg"/><Relationship Id="rId2" Type="http://schemas.openxmlformats.org/officeDocument/2006/relationships/tags" Target="../tags/tag195.xml"/><Relationship Id="rId16" Type="http://schemas.openxmlformats.org/officeDocument/2006/relationships/image" Target="../media/image16.png"/><Relationship Id="rId1" Type="http://schemas.openxmlformats.org/officeDocument/2006/relationships/tags" Target="../tags/tag194.xml"/><Relationship Id="rId6" Type="http://schemas.openxmlformats.org/officeDocument/2006/relationships/image" Target="../media/image24.png"/><Relationship Id="rId11" Type="http://schemas.openxmlformats.org/officeDocument/2006/relationships/image" Target="../media/image35.svg"/><Relationship Id="rId5" Type="http://schemas.openxmlformats.org/officeDocument/2006/relationships/slideMaster" Target="../slideMasters/slideMaster1.xml"/><Relationship Id="rId15" Type="http://schemas.openxmlformats.org/officeDocument/2006/relationships/image" Target="../media/image15.svg"/><Relationship Id="rId10" Type="http://schemas.openxmlformats.org/officeDocument/2006/relationships/image" Target="../media/image34.png"/><Relationship Id="rId4" Type="http://schemas.openxmlformats.org/officeDocument/2006/relationships/tags" Target="../tags/tag197.xml"/><Relationship Id="rId9" Type="http://schemas.openxmlformats.org/officeDocument/2006/relationships/image" Target="../media/image33.svg"/><Relationship Id="rId1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25.svg"/><Relationship Id="rId3" Type="http://schemas.openxmlformats.org/officeDocument/2006/relationships/tags" Target="../tags/tag200.xml"/><Relationship Id="rId7" Type="http://schemas.openxmlformats.org/officeDocument/2006/relationships/image" Target="../media/image33.svg"/><Relationship Id="rId12" Type="http://schemas.openxmlformats.org/officeDocument/2006/relationships/image" Target="../media/image24.png"/><Relationship Id="rId17" Type="http://schemas.openxmlformats.org/officeDocument/2006/relationships/image" Target="../media/image17.svg"/><Relationship Id="rId2" Type="http://schemas.openxmlformats.org/officeDocument/2006/relationships/tags" Target="../tags/tag199.xml"/><Relationship Id="rId16" Type="http://schemas.openxmlformats.org/officeDocument/2006/relationships/image" Target="../media/image16.png"/><Relationship Id="rId1" Type="http://schemas.openxmlformats.org/officeDocument/2006/relationships/tags" Target="../tags/tag198.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slideMaster" Target="../slideMasters/slideMaster1.xml"/><Relationship Id="rId15" Type="http://schemas.openxmlformats.org/officeDocument/2006/relationships/image" Target="../media/image15.svg"/><Relationship Id="rId10" Type="http://schemas.openxmlformats.org/officeDocument/2006/relationships/image" Target="../media/image36.png"/><Relationship Id="rId4" Type="http://schemas.openxmlformats.org/officeDocument/2006/relationships/tags" Target="../tags/tag201.xml"/><Relationship Id="rId9" Type="http://schemas.openxmlformats.org/officeDocument/2006/relationships/image" Target="../media/image35.svg"/><Relationship Id="rId1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xml"/><Relationship Id="rId7" Type="http://schemas.openxmlformats.org/officeDocument/2006/relationships/image" Target="../media/image15.sv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4.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17.sv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06.xml"/><Relationship Id="rId7" Type="http://schemas.openxmlformats.org/officeDocument/2006/relationships/image" Target="../media/image15.sv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207.xml"/><Relationship Id="rId9" Type="http://schemas.openxmlformats.org/officeDocument/2006/relationships/image" Target="../media/image17.sv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10.xml"/><Relationship Id="rId7" Type="http://schemas.openxmlformats.org/officeDocument/2006/relationships/image" Target="../media/image15.sv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211.xml"/><Relationship Id="rId9" Type="http://schemas.openxmlformats.org/officeDocument/2006/relationships/image" Target="../media/image17.sv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41.sv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6.png"/><Relationship Id="rId5" Type="http://schemas.openxmlformats.org/officeDocument/2006/relationships/image" Target="../media/image43.svg"/><Relationship Id="rId4" Type="http://schemas.openxmlformats.org/officeDocument/2006/relationships/image" Target="../media/image4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slideMaster" Target="../slideMasters/slideMaster1.xml"/><Relationship Id="rId1" Type="http://schemas.openxmlformats.org/officeDocument/2006/relationships/tags" Target="../tags/tag216.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xml"/><Relationship Id="rId7" Type="http://schemas.openxmlformats.org/officeDocument/2006/relationships/image" Target="../media/image15.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17.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slideMaster" Target="../slideMasters/slideMaster1.xml"/><Relationship Id="rId1" Type="http://schemas.openxmlformats.org/officeDocument/2006/relationships/tags" Target="../tags/tag21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slideMaster" Target="../slideMasters/slideMaster1.xml"/><Relationship Id="rId1" Type="http://schemas.openxmlformats.org/officeDocument/2006/relationships/tags" Target="../tags/tag21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slideMaster" Target="../slideMasters/slideMaster1.xml"/><Relationship Id="rId1" Type="http://schemas.openxmlformats.org/officeDocument/2006/relationships/tags" Target="../tags/tag219.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222.xml"/><Relationship Id="rId7" Type="http://schemas.openxmlformats.org/officeDocument/2006/relationships/image" Target="../media/image14.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slideMaster" Target="../slideMasters/slideMaster1.xml"/><Relationship Id="rId5" Type="http://schemas.openxmlformats.org/officeDocument/2006/relationships/tags" Target="../tags/tag224.xml"/><Relationship Id="rId10" Type="http://schemas.openxmlformats.org/officeDocument/2006/relationships/image" Target="../media/image17.svg"/><Relationship Id="rId4" Type="http://schemas.openxmlformats.org/officeDocument/2006/relationships/tags" Target="../tags/tag223.xml"/><Relationship Id="rId9" Type="http://schemas.openxmlformats.org/officeDocument/2006/relationships/image" Target="../media/image16.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227.xml"/><Relationship Id="rId7" Type="http://schemas.openxmlformats.org/officeDocument/2006/relationships/image" Target="../media/image14.png"/><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slideMaster" Target="../slideMasters/slideMaster1.xml"/><Relationship Id="rId5" Type="http://schemas.openxmlformats.org/officeDocument/2006/relationships/tags" Target="../tags/tag229.xml"/><Relationship Id="rId10" Type="http://schemas.openxmlformats.org/officeDocument/2006/relationships/image" Target="../media/image17.svg"/><Relationship Id="rId4" Type="http://schemas.openxmlformats.org/officeDocument/2006/relationships/tags" Target="../tags/tag228.xml"/><Relationship Id="rId9" Type="http://schemas.openxmlformats.org/officeDocument/2006/relationships/image" Target="../media/image16.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232.xml"/><Relationship Id="rId7" Type="http://schemas.openxmlformats.org/officeDocument/2006/relationships/image" Target="../media/image14.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slideMaster" Target="../slideMasters/slideMaster1.xml"/><Relationship Id="rId5" Type="http://schemas.openxmlformats.org/officeDocument/2006/relationships/tags" Target="../tags/tag234.xml"/><Relationship Id="rId10" Type="http://schemas.openxmlformats.org/officeDocument/2006/relationships/image" Target="../media/image17.svg"/><Relationship Id="rId4" Type="http://schemas.openxmlformats.org/officeDocument/2006/relationships/tags" Target="../tags/tag233.xml"/><Relationship Id="rId9" Type="http://schemas.openxmlformats.org/officeDocument/2006/relationships/image" Target="../media/image16.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6.xml"/><Relationship Id="rId7" Type="http://schemas.openxmlformats.org/officeDocument/2006/relationships/image" Target="../media/image15.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17.sv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9.xml"/><Relationship Id="rId1" Type="http://schemas.openxmlformats.org/officeDocument/2006/relationships/tags" Target="../tags/tag23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0.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2.xml"/><Relationship Id="rId1" Type="http://schemas.openxmlformats.org/officeDocument/2006/relationships/tags" Target="../tags/tag24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4.xml"/><Relationship Id="rId1" Type="http://schemas.openxmlformats.org/officeDocument/2006/relationships/tags" Target="../tags/tag243.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6.xml"/><Relationship Id="rId1" Type="http://schemas.openxmlformats.org/officeDocument/2006/relationships/tags" Target="../tags/tag24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8.xml"/><Relationship Id="rId1" Type="http://schemas.openxmlformats.org/officeDocument/2006/relationships/tags" Target="../tags/tag247.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0.xml"/><Relationship Id="rId1" Type="http://schemas.openxmlformats.org/officeDocument/2006/relationships/tags" Target="../tags/tag249.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2.xml"/><Relationship Id="rId1" Type="http://schemas.openxmlformats.org/officeDocument/2006/relationships/tags" Target="../tags/tag25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0.xml"/><Relationship Id="rId7" Type="http://schemas.openxmlformats.org/officeDocument/2006/relationships/image" Target="../media/image15.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7.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Bottom Accelerate Opportunity ">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C8E09BF-FC5E-2E3F-AE83-8F4215BF6DC4}"/>
              </a:ext>
            </a:extLst>
          </p:cNvPr>
          <p:cNvSpPr>
            <a:spLocks noGrp="1"/>
          </p:cNvSpPr>
          <p:nvPr>
            <p:ph type="pic" sz="quarter" idx="22" hasCustomPrompt="1"/>
          </p:nvPr>
        </p:nvSpPr>
        <p:spPr>
          <a:xfrm>
            <a:off x="0" y="0"/>
            <a:ext cx="12191999" cy="6858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14" name="Picture Accelerate">
            <a:extLst>
              <a:ext uri="{FF2B5EF4-FFF2-40B4-BE49-F238E27FC236}">
                <a16:creationId xmlns:a16="http://schemas.microsoft.com/office/drawing/2014/main" id="{B25B020E-6262-4A5C-72D7-B62A9D23A973}"/>
              </a:ext>
            </a:extLst>
          </p:cNvPr>
          <p:cNvSpPr>
            <a:spLocks noGrp="1"/>
          </p:cNvSpPr>
          <p:nvPr>
            <p:ph type="pic" sz="quarter" idx="26" hasCustomPrompt="1"/>
          </p:nvPr>
        </p:nvSpPr>
        <p:spPr>
          <a:xfrm>
            <a:off x="2678010" y="4415594"/>
            <a:ext cx="2450804" cy="859611"/>
          </a:xfrm>
          <a:blipFill>
            <a:blip r:embed="rId5"/>
            <a:stretch>
              <a:fillRect/>
            </a:stretch>
          </a:blipFill>
        </p:spPr>
        <p:txBody>
          <a:bodyPr/>
          <a:lstStyle>
            <a:lvl1pPr marL="0" indent="0">
              <a:buNone/>
              <a:defRPr/>
            </a:lvl1pPr>
          </a:lstStyle>
          <a:p>
            <a:r>
              <a:rPr lang="en-US" dirty="0"/>
              <a:t>    </a:t>
            </a:r>
          </a:p>
        </p:txBody>
      </p:sp>
      <p:sp>
        <p:nvSpPr>
          <p:cNvPr id="16" name="Picture Opportunity">
            <a:extLst>
              <a:ext uri="{FF2B5EF4-FFF2-40B4-BE49-F238E27FC236}">
                <a16:creationId xmlns:a16="http://schemas.microsoft.com/office/drawing/2014/main" id="{40D3103E-05AB-63D2-0786-D4DD95E56CAA}"/>
              </a:ext>
            </a:extLst>
          </p:cNvPr>
          <p:cNvSpPr>
            <a:spLocks noGrp="1"/>
          </p:cNvSpPr>
          <p:nvPr>
            <p:ph type="pic" sz="quarter" idx="27" hasCustomPrompt="1"/>
          </p:nvPr>
        </p:nvSpPr>
        <p:spPr>
          <a:xfrm>
            <a:off x="7027920" y="4415594"/>
            <a:ext cx="2627603" cy="859611"/>
          </a:xfrm>
          <a:blipFill>
            <a:blip r:embed="rId6"/>
            <a:stretch>
              <a:fillRect/>
            </a:stretch>
          </a:blipFill>
        </p:spPr>
        <p:txBody>
          <a:bodyPr/>
          <a:lstStyle>
            <a:lvl1pPr marL="0" indent="0">
              <a:buNone/>
              <a:defRPr/>
            </a:lvl1pPr>
          </a:lstStyle>
          <a:p>
            <a:r>
              <a:rPr lang="en-US" dirty="0"/>
              <a:t>   </a:t>
            </a:r>
          </a:p>
        </p:txBody>
      </p:sp>
      <p:sp>
        <p:nvSpPr>
          <p:cNvPr id="18" name="Picture Embraer">
            <a:extLst>
              <a:ext uri="{FF2B5EF4-FFF2-40B4-BE49-F238E27FC236}">
                <a16:creationId xmlns:a16="http://schemas.microsoft.com/office/drawing/2014/main" id="{EF431B8F-A9EB-861D-F59B-8783B9C4F7A6}"/>
              </a:ext>
            </a:extLst>
          </p:cNvPr>
          <p:cNvSpPr>
            <a:spLocks noGrp="1"/>
          </p:cNvSpPr>
          <p:nvPr>
            <p:ph type="pic" sz="quarter" idx="28" hasCustomPrompt="1"/>
          </p:nvPr>
        </p:nvSpPr>
        <p:spPr>
          <a:xfrm>
            <a:off x="5134994" y="6131158"/>
            <a:ext cx="1920000" cy="322560"/>
          </a:xfrm>
          <a:blipFill>
            <a:blip r:embed="rId7"/>
            <a:stretch>
              <a:fillRect/>
            </a:stretch>
          </a:blipFill>
        </p:spPr>
        <p:txBody>
          <a:bodyPr/>
          <a:lstStyle>
            <a:lvl1pPr marL="0" indent="0">
              <a:buNone/>
              <a:defRPr/>
            </a:lvl1pPr>
          </a:lstStyle>
          <a:p>
            <a:r>
              <a:rPr lang="en-US" dirty="0"/>
              <a:t>    </a:t>
            </a:r>
          </a:p>
        </p:txBody>
      </p:sp>
      <p:sp>
        <p:nvSpPr>
          <p:cNvPr id="20" name="Text Placeholder 19">
            <a:extLst>
              <a:ext uri="{FF2B5EF4-FFF2-40B4-BE49-F238E27FC236}">
                <a16:creationId xmlns:a16="http://schemas.microsoft.com/office/drawing/2014/main" id="{63B23398-6173-17D3-3969-EFDEB6D1F31D}"/>
              </a:ext>
            </a:extLst>
          </p:cNvPr>
          <p:cNvSpPr>
            <a:spLocks noGrp="1"/>
          </p:cNvSpPr>
          <p:nvPr>
            <p:ph type="body" sz="quarter" idx="29" hasCustomPrompt="1"/>
          </p:nvPr>
        </p:nvSpPr>
        <p:spPr>
          <a:xfrm>
            <a:off x="5194952" y="4489930"/>
            <a:ext cx="1802096" cy="584775"/>
          </a:xfrm>
        </p:spPr>
        <p:txBody>
          <a:bodyPr anchor="ctr">
            <a:normAutofit/>
          </a:bodyPr>
          <a:lstStyle>
            <a:lvl1pPr marL="0" indent="0" algn="ctr">
              <a:buNone/>
              <a:defRPr sz="3200">
                <a:solidFill>
                  <a:schemeClr val="bg1"/>
                </a:solidFill>
              </a:defRPr>
            </a:lvl1pPr>
          </a:lstStyle>
          <a:p>
            <a:pPr lvl="0"/>
            <a:r>
              <a:rPr lang="en-US" dirty="0"/>
              <a:t>Headline</a:t>
            </a:r>
          </a:p>
        </p:txBody>
      </p:sp>
      <p:sp>
        <p:nvSpPr>
          <p:cNvPr id="21" name="Text Placeholder 19">
            <a:extLst>
              <a:ext uri="{FF2B5EF4-FFF2-40B4-BE49-F238E27FC236}">
                <a16:creationId xmlns:a16="http://schemas.microsoft.com/office/drawing/2014/main" id="{BA462372-D679-A05E-2B10-FE4E267D350D}"/>
              </a:ext>
            </a:extLst>
          </p:cNvPr>
          <p:cNvSpPr>
            <a:spLocks noGrp="1"/>
          </p:cNvSpPr>
          <p:nvPr>
            <p:ph type="body" sz="quarter" idx="30" hasCustomPrompt="1"/>
          </p:nvPr>
        </p:nvSpPr>
        <p:spPr>
          <a:xfrm>
            <a:off x="2678006" y="5199019"/>
            <a:ext cx="6977518" cy="461665"/>
          </a:xfrm>
        </p:spPr>
        <p:txBody>
          <a:bodyPr anchor="ctr">
            <a:normAutofit/>
          </a:bodyPr>
          <a:lstStyle>
            <a:lvl1pPr marL="0" indent="0" algn="ctr">
              <a:buNone/>
              <a:defRPr sz="2400">
                <a:solidFill>
                  <a:schemeClr val="bg1"/>
                </a:solidFill>
              </a:defRPr>
            </a:lvl1pPr>
          </a:lstStyle>
          <a:p>
            <a:pPr lvl="0"/>
            <a:r>
              <a:rPr lang="en-US" dirty="0"/>
              <a:t>Date</a:t>
            </a:r>
          </a:p>
        </p:txBody>
      </p:sp>
    </p:spTree>
    <p:extLst>
      <p:ext uri="{BB962C8B-B14F-4D97-AF65-F5344CB8AC3E}">
        <p14:creationId xmlns:p14="http://schemas.microsoft.com/office/powerpoint/2010/main" val="296368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 With Content no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304925"/>
            <a:ext cx="10261600" cy="4945063"/>
          </a:xfrm>
        </p:spPr>
        <p:txBody>
          <a:bodyPr/>
          <a:lstStyle>
            <a:lvl1pPr marL="0" indent="0">
              <a:lnSpc>
                <a:spcPct val="120000"/>
              </a:lnSpc>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Logo Placeholder 30">
            <a:extLst>
              <a:ext uri="{FF2B5EF4-FFF2-40B4-BE49-F238E27FC236}">
                <a16:creationId xmlns:a16="http://schemas.microsoft.com/office/drawing/2014/main" id="{CF6C1A48-C70D-C5D0-4BFB-5A038AB5D213}"/>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Business Unit Placeholder 28">
            <a:extLst>
              <a:ext uri="{FF2B5EF4-FFF2-40B4-BE49-F238E27FC236}">
                <a16:creationId xmlns:a16="http://schemas.microsoft.com/office/drawing/2014/main" id="{72D9B892-0E27-82CC-1D69-92C631F6C32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175340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 Blank">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2" name="Logo Placeholder 30">
            <a:extLst>
              <a:ext uri="{FF2B5EF4-FFF2-40B4-BE49-F238E27FC236}">
                <a16:creationId xmlns:a16="http://schemas.microsoft.com/office/drawing/2014/main" id="{5C9E9BE4-62CA-166F-6982-BE9665CCC489}"/>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4" name="Business Unit Placeholder 28">
            <a:extLst>
              <a:ext uri="{FF2B5EF4-FFF2-40B4-BE49-F238E27FC236}">
                <a16:creationId xmlns:a16="http://schemas.microsoft.com/office/drawing/2014/main" id="{1AEB3877-845F-B2D6-21AB-BD379B1311B3}"/>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161441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 Cover">
    <p:spTree>
      <p:nvGrpSpPr>
        <p:cNvPr id="1" name=""/>
        <p:cNvGrpSpPr/>
        <p:nvPr/>
      </p:nvGrpSpPr>
      <p:grpSpPr>
        <a:xfrm>
          <a:off x="0" y="0"/>
          <a:ext cx="0" cy="0"/>
          <a:chOff x="0" y="0"/>
          <a:chExt cx="0" cy="0"/>
        </a:xfrm>
      </p:grpSpPr>
      <p:sp>
        <p:nvSpPr>
          <p:cNvPr id="4" name="Date">
            <a:extLst>
              <a:ext uri="{FF2B5EF4-FFF2-40B4-BE49-F238E27FC236}">
                <a16:creationId xmlns:a16="http://schemas.microsoft.com/office/drawing/2014/main" id="{2B64CC29-2B48-344D-BB53-7AF39637B702}"/>
              </a:ext>
            </a:extLst>
          </p:cNvPr>
          <p:cNvSpPr>
            <a:spLocks noGrp="1"/>
          </p:cNvSpPr>
          <p:nvPr>
            <p:ph type="body" sz="quarter" idx="12" hasCustomPrompt="1"/>
          </p:nvPr>
        </p:nvSpPr>
        <p:spPr>
          <a:xfrm>
            <a:off x="1593849" y="3801185"/>
            <a:ext cx="7072736" cy="440760"/>
          </a:xfrm>
          <a:prstGeom prst="rect">
            <a:avLst/>
          </a:prstGeom>
        </p:spPr>
        <p:txBody>
          <a:bodyPr vert="horz" anchor="ctr"/>
          <a:lstStyle>
            <a:lvl1pPr marL="0" indent="0">
              <a:buNone/>
              <a:defRPr sz="2400" cap="none" baseline="0">
                <a:solidFill>
                  <a:srgbClr val="7F7F7F"/>
                </a:solidFill>
                <a:latin typeface="+mj-lt"/>
                <a:cs typeface="+mj-cs"/>
              </a:defRPr>
            </a:lvl1pPr>
          </a:lstStyle>
          <a:p>
            <a:pPr lvl="0"/>
            <a:r>
              <a:rPr lang="en-US" dirty="0"/>
              <a:t>Date</a:t>
            </a:r>
          </a:p>
        </p:txBody>
      </p:sp>
      <p:sp>
        <p:nvSpPr>
          <p:cNvPr id="2" name="Rectangle 1" hidden="1">
            <a:extLst>
              <a:ext uri="{FF2B5EF4-FFF2-40B4-BE49-F238E27FC236}">
                <a16:creationId xmlns:a16="http://schemas.microsoft.com/office/drawing/2014/main" id="{A8D6538D-1BFD-4CBE-E270-3239FFF1AB31}"/>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 name="Rectangle 5">
            <a:extLst>
              <a:ext uri="{FF2B5EF4-FFF2-40B4-BE49-F238E27FC236}">
                <a16:creationId xmlns:a16="http://schemas.microsoft.com/office/drawing/2014/main" id="{E50DE7AA-7A93-17A0-10D7-4378DE25D8EF}"/>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7" name="Date Placeholder 6">
            <a:extLst>
              <a:ext uri="{FF2B5EF4-FFF2-40B4-BE49-F238E27FC236}">
                <a16:creationId xmlns:a16="http://schemas.microsoft.com/office/drawing/2014/main" id="{67813897-D87A-EA0E-01F1-358310FCAEAB}"/>
              </a:ext>
            </a:extLst>
          </p:cNvPr>
          <p:cNvSpPr>
            <a:spLocks noGrp="1"/>
          </p:cNvSpPr>
          <p:nvPr>
            <p:ph type="dt" sz="half" idx="13"/>
          </p:nvPr>
        </p:nvSpPr>
        <p:spPr/>
        <p:txBody>
          <a:bodyPr/>
          <a:lstStyle/>
          <a:p>
            <a:fld id="{04CB6CED-5266-432D-933F-DEB66DE1ECB8}" type="datetime1">
              <a:rPr lang="en-US"/>
              <a:t>11/16/2024</a:t>
            </a:fld>
            <a:endParaRPr lang="en-US" dirty="0"/>
          </a:p>
        </p:txBody>
      </p:sp>
      <p:sp>
        <p:nvSpPr>
          <p:cNvPr id="8" name="Footer Placeholder 7">
            <a:extLst>
              <a:ext uri="{FF2B5EF4-FFF2-40B4-BE49-F238E27FC236}">
                <a16:creationId xmlns:a16="http://schemas.microsoft.com/office/drawing/2014/main" id="{AD0D7E83-2D5A-4A13-D885-024C084E32BF}"/>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F61CEB72-2B38-F214-876D-B1B880C8C89E}"/>
              </a:ext>
            </a:extLst>
          </p:cNvPr>
          <p:cNvSpPr>
            <a:spLocks noGrp="1"/>
          </p:cNvSpPr>
          <p:nvPr>
            <p:ph type="sldNum" sz="quarter" idx="15"/>
          </p:nvPr>
        </p:nvSpPr>
        <p:spPr/>
        <p:txBody>
          <a:bodyPr/>
          <a:lstStyle/>
          <a:p>
            <a:fld id="{BC856695-CDCE-4C54-BCD0-9C2D042065C7}" type="slidenum">
              <a:rPr lang="en-US"/>
              <a:pPr/>
              <a:t>‹#›</a:t>
            </a:fld>
            <a:endParaRPr lang="en-US" dirty="0"/>
          </a:p>
        </p:txBody>
      </p:sp>
      <p:sp>
        <p:nvSpPr>
          <p:cNvPr id="10" name="MIO_AGENDA_IGNORE_NAVIGATION" hidden="1">
            <a:extLst>
              <a:ext uri="{FF2B5EF4-FFF2-40B4-BE49-F238E27FC236}">
                <a16:creationId xmlns:a16="http://schemas.microsoft.com/office/drawing/2014/main" id="{D556F29D-9343-137C-4EBD-D0BEFC719692}"/>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1" name="MIO_AGENDA_IGNORE_CHAPTER_REFERENCE" hidden="1">
            <a:extLst>
              <a:ext uri="{FF2B5EF4-FFF2-40B4-BE49-F238E27FC236}">
                <a16:creationId xmlns:a16="http://schemas.microsoft.com/office/drawing/2014/main" id="{25D26BEF-CF3E-E939-90C1-FB8D01A38DBB}"/>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Title 17">
            <a:extLst>
              <a:ext uri="{FF2B5EF4-FFF2-40B4-BE49-F238E27FC236}">
                <a16:creationId xmlns:a16="http://schemas.microsoft.com/office/drawing/2014/main" id="{B17F9047-D363-3096-E22F-F0C8D30DFA24}"/>
              </a:ext>
            </a:extLst>
          </p:cNvPr>
          <p:cNvSpPr>
            <a:spLocks noGrp="1"/>
          </p:cNvSpPr>
          <p:nvPr>
            <p:ph type="title" hasCustomPrompt="1"/>
          </p:nvPr>
        </p:nvSpPr>
        <p:spPr>
          <a:xfrm>
            <a:off x="1599526" y="3268783"/>
            <a:ext cx="9179844" cy="484188"/>
          </a:xfrm>
        </p:spPr>
        <p:txBody>
          <a:bodyPr vert="horz" lIns="0" tIns="0" rIns="0" bIns="0" rtlCol="0" anchor="ctr">
            <a:normAutofit/>
          </a:bodyPr>
          <a:lstStyle>
            <a:lvl1pPr>
              <a:defRPr lang="en-US" cap="none" spc="0" baseline="0" dirty="0">
                <a:solidFill>
                  <a:schemeClr val="accent1"/>
                </a:solidFill>
                <a:latin typeface="+mj-lt"/>
                <a:ea typeface="+mn-ea"/>
              </a:defRPr>
            </a:lvl1pPr>
          </a:lstStyle>
          <a:p>
            <a:pPr marL="0" lvl="0" indent="0">
              <a:lnSpc>
                <a:spcPct val="100000"/>
              </a:lnSpc>
              <a:spcBef>
                <a:spcPts val="1152"/>
              </a:spcBef>
              <a:buFont typeface="Arial" panose="020B0604020202020204" pitchFamily="34" charset="0"/>
            </a:pPr>
            <a:r>
              <a:rPr lang="en-US" dirty="0"/>
              <a:t>Document Title</a:t>
            </a:r>
          </a:p>
        </p:txBody>
      </p:sp>
      <p:sp>
        <p:nvSpPr>
          <p:cNvPr id="3" name="Forma Livre: Forma 61">
            <a:extLst>
              <a:ext uri="{FF2B5EF4-FFF2-40B4-BE49-F238E27FC236}">
                <a16:creationId xmlns:a16="http://schemas.microsoft.com/office/drawing/2014/main" id="{A30903AD-429D-2D35-BC3C-602684E0E619}"/>
              </a:ext>
            </a:extLst>
          </p:cNvPr>
          <p:cNvSpPr/>
          <p:nvPr userDrawn="1"/>
        </p:nvSpPr>
        <p:spPr>
          <a:xfrm flipH="1">
            <a:off x="1151167" y="3359916"/>
            <a:ext cx="296468" cy="296427"/>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04AE8"/>
          </a:solidFill>
          <a:ln w="12700" cap="flat">
            <a:noFill/>
            <a:miter lim="400000"/>
          </a:ln>
          <a:effectLst/>
        </p:spPr>
        <p:txBody>
          <a:bodyPr wrap="square" lIns="22860" tIns="22860" rIns="22860" bIns="22860" numCol="1" anchor="ctr">
            <a:noAutofit/>
          </a:bodyPr>
          <a:lstStyle/>
          <a:p>
            <a:pPr>
              <a:defRPr>
                <a:solidFill>
                  <a:srgbClr val="100690"/>
                </a:solidFill>
                <a:latin typeface="+mn-lt"/>
                <a:ea typeface="+mn-ea"/>
                <a:cs typeface="+mn-cs"/>
                <a:sym typeface="Arial" panose="020B0604020202020204" pitchFamily="34" charset="0"/>
              </a:defRPr>
            </a:pPr>
            <a:endParaRPr sz="900" dirty="0">
              <a:solidFill>
                <a:srgbClr val="004AE8"/>
              </a:solidFill>
              <a:latin typeface="+mn-lt"/>
            </a:endParaRPr>
          </a:p>
        </p:txBody>
      </p:sp>
    </p:spTree>
    <p:extLst>
      <p:ext uri="{BB962C8B-B14F-4D97-AF65-F5344CB8AC3E}">
        <p14:creationId xmlns:p14="http://schemas.microsoft.com/office/powerpoint/2010/main" val="3917196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 Chapter with Subtitle">
    <p:spTree>
      <p:nvGrpSpPr>
        <p:cNvPr id="1" name=""/>
        <p:cNvGrpSpPr/>
        <p:nvPr/>
      </p:nvGrpSpPr>
      <p:grpSpPr>
        <a:xfrm>
          <a:off x="0" y="0"/>
          <a:ext cx="0" cy="0"/>
          <a:chOff x="0" y="0"/>
          <a:chExt cx="0" cy="0"/>
        </a:xfrm>
      </p:grpSpPr>
      <p:sp>
        <p:nvSpPr>
          <p:cNvPr id="12" name="Subtitle">
            <a:extLst>
              <a:ext uri="{FF2B5EF4-FFF2-40B4-BE49-F238E27FC236}">
                <a16:creationId xmlns:a16="http://schemas.microsoft.com/office/drawing/2014/main" id="{65300870-AF8B-D847-80D3-98A67C453C8F}"/>
              </a:ext>
            </a:extLst>
          </p:cNvPr>
          <p:cNvSpPr>
            <a:spLocks noGrp="1"/>
          </p:cNvSpPr>
          <p:nvPr>
            <p:ph type="subTitle" idx="1" hasCustomPrompt="1"/>
          </p:nvPr>
        </p:nvSpPr>
        <p:spPr>
          <a:xfrm>
            <a:off x="4016438" y="3474452"/>
            <a:ext cx="7161083" cy="332399"/>
          </a:xfrm>
          <a:prstGeom prst="rect">
            <a:avLst/>
          </a:prstGeom>
        </p:spPr>
        <p:txBody>
          <a:bodyPr wrap="square" lIns="18000" anchor="ctr">
            <a:spAutoFit/>
          </a:bodyPr>
          <a:lstStyle>
            <a:lvl1pPr marL="0" indent="0" algn="r">
              <a:buNone/>
              <a:defRPr sz="2400" b="0" cap="none" baseline="0">
                <a:solidFill>
                  <a:srgbClr val="7F7F7F"/>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Rectangle 1" hidden="1">
            <a:extLst>
              <a:ext uri="{FF2B5EF4-FFF2-40B4-BE49-F238E27FC236}">
                <a16:creationId xmlns:a16="http://schemas.microsoft.com/office/drawing/2014/main" id="{BED28D1E-8DB7-F6CD-FC46-4E070188DA99}"/>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Rectangle 4">
            <a:extLst>
              <a:ext uri="{FF2B5EF4-FFF2-40B4-BE49-F238E27FC236}">
                <a16:creationId xmlns:a16="http://schemas.microsoft.com/office/drawing/2014/main" id="{2F1976E9-98C1-04B6-347A-D2FFB4BAAEE6}"/>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 name="Date Placeholder 3">
            <a:extLst>
              <a:ext uri="{FF2B5EF4-FFF2-40B4-BE49-F238E27FC236}">
                <a16:creationId xmlns:a16="http://schemas.microsoft.com/office/drawing/2014/main" id="{F9AE4B37-EF66-07B1-E327-106AA90DFF44}"/>
              </a:ext>
            </a:extLst>
          </p:cNvPr>
          <p:cNvSpPr>
            <a:spLocks noGrp="1"/>
          </p:cNvSpPr>
          <p:nvPr>
            <p:ph type="dt" sz="half" idx="12"/>
          </p:nvPr>
        </p:nvSpPr>
        <p:spPr/>
        <p:txBody>
          <a:bodyPr/>
          <a:lstStyle/>
          <a:p>
            <a:fld id="{B61D270D-1EAA-47B3-924B-7F3574FE54AA}" type="datetime1">
              <a:rPr lang="en-US"/>
              <a:t>11/16/2024</a:t>
            </a:fld>
            <a:endParaRPr lang="en-US" dirty="0"/>
          </a:p>
        </p:txBody>
      </p:sp>
      <p:sp>
        <p:nvSpPr>
          <p:cNvPr id="6" name="Footer Placeholder 5">
            <a:extLst>
              <a:ext uri="{FF2B5EF4-FFF2-40B4-BE49-F238E27FC236}">
                <a16:creationId xmlns:a16="http://schemas.microsoft.com/office/drawing/2014/main" id="{B26943E3-53CC-D6A1-A0D6-94AF9EBAAC63}"/>
              </a:ext>
            </a:extLst>
          </p:cNvPr>
          <p:cNvSpPr>
            <a:spLocks noGrp="1"/>
          </p:cNvSpPr>
          <p:nvPr>
            <p:ph type="ftr" sz="quarter" idx="13"/>
          </p:nvPr>
        </p:nvSpPr>
        <p:spPr/>
        <p:txBody>
          <a:bodyPr/>
          <a:lstStyle/>
          <a:p>
            <a:endParaRPr lang="en-US" dirty="0"/>
          </a:p>
        </p:txBody>
      </p:sp>
      <p:sp>
        <p:nvSpPr>
          <p:cNvPr id="10" name="Slide Number Placeholder 9">
            <a:extLst>
              <a:ext uri="{FF2B5EF4-FFF2-40B4-BE49-F238E27FC236}">
                <a16:creationId xmlns:a16="http://schemas.microsoft.com/office/drawing/2014/main" id="{8B4713BF-19A9-1694-5D2A-8A4B5F2A949A}"/>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11" name="MIO_AGENDA_IGNORE_NAVIGATION" hidden="1">
            <a:extLst>
              <a:ext uri="{FF2B5EF4-FFF2-40B4-BE49-F238E27FC236}">
                <a16:creationId xmlns:a16="http://schemas.microsoft.com/office/drawing/2014/main" id="{E8FDEE82-7C48-3177-EB7B-44F76675F2C5}"/>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 name="MIO_AGENDA_IGNORE_CHAPTER_REFERENCE" hidden="1">
            <a:extLst>
              <a:ext uri="{FF2B5EF4-FFF2-40B4-BE49-F238E27FC236}">
                <a16:creationId xmlns:a16="http://schemas.microsoft.com/office/drawing/2014/main" id="{66BCA750-DC55-699B-851D-690245C15AB7}"/>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 name="Title 14">
            <a:extLst>
              <a:ext uri="{FF2B5EF4-FFF2-40B4-BE49-F238E27FC236}">
                <a16:creationId xmlns:a16="http://schemas.microsoft.com/office/drawing/2014/main" id="{387C7781-27E0-7336-D5E1-EE3F8145372B}"/>
              </a:ext>
            </a:extLst>
          </p:cNvPr>
          <p:cNvSpPr>
            <a:spLocks noGrp="1"/>
          </p:cNvSpPr>
          <p:nvPr>
            <p:ph type="title" hasCustomPrompt="1"/>
          </p:nvPr>
        </p:nvSpPr>
        <p:spPr>
          <a:xfrm>
            <a:off x="968989" y="2946509"/>
            <a:ext cx="10206466" cy="484188"/>
          </a:xfrm>
        </p:spPr>
        <p:txBody>
          <a:bodyPr/>
          <a:lstStyle>
            <a:lvl1pPr algn="r">
              <a:defRPr cap="none" baseline="0">
                <a:solidFill>
                  <a:srgbClr val="002060"/>
                </a:solidFill>
                <a:latin typeface="+mj-lt"/>
              </a:defRPr>
            </a:lvl1pPr>
          </a:lstStyle>
          <a:p>
            <a:r>
              <a:rPr lang="en-US" dirty="0"/>
              <a:t>Click to edit master title style</a:t>
            </a:r>
          </a:p>
        </p:txBody>
      </p:sp>
      <p:sp>
        <p:nvSpPr>
          <p:cNvPr id="7" name="Picture Placeholder 14">
            <a:extLst>
              <a:ext uri="{FF2B5EF4-FFF2-40B4-BE49-F238E27FC236}">
                <a16:creationId xmlns:a16="http://schemas.microsoft.com/office/drawing/2014/main" id="{7B17086C-B579-027C-196E-8C37E02952F3}"/>
              </a:ext>
            </a:extLst>
          </p:cNvPr>
          <p:cNvSpPr>
            <a:spLocks noGrp="1"/>
          </p:cNvSpPr>
          <p:nvPr>
            <p:ph type="pic" sz="quarter" idx="16" hasCustomPrompt="1"/>
          </p:nvPr>
        </p:nvSpPr>
        <p:spPr>
          <a:xfrm>
            <a:off x="11178580" y="2946816"/>
            <a:ext cx="334800" cy="957600"/>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lvl1pPr>
          </a:lstStyle>
          <a:p>
            <a:r>
              <a:rPr lang="en-US" dirty="0"/>
              <a:t>.</a:t>
            </a:r>
          </a:p>
        </p:txBody>
      </p:sp>
      <p:sp>
        <p:nvSpPr>
          <p:cNvPr id="3" name="Logo Placeholder 30">
            <a:extLst>
              <a:ext uri="{FF2B5EF4-FFF2-40B4-BE49-F238E27FC236}">
                <a16:creationId xmlns:a16="http://schemas.microsoft.com/office/drawing/2014/main" id="{83532E84-80A1-0F3E-6E87-FBD26CD45415}"/>
              </a:ext>
            </a:extLst>
          </p:cNvPr>
          <p:cNvSpPr txBox="1">
            <a:spLocks/>
          </p:cNvSpPr>
          <p:nvPr userDrawn="1">
            <p:custDataLst>
              <p:tags r:id="rId3"/>
            </p:custDataLst>
          </p:nvPr>
        </p:nvSpPr>
        <p:spPr>
          <a:xfrm>
            <a:off x="11827011" y="223406"/>
            <a:ext cx="179699" cy="179673"/>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Business Unit Placeholder 28">
            <a:extLst>
              <a:ext uri="{FF2B5EF4-FFF2-40B4-BE49-F238E27FC236}">
                <a16:creationId xmlns:a16="http://schemas.microsoft.com/office/drawing/2014/main" id="{6181524A-67ED-70F6-CD79-14CDDEC25C00}"/>
              </a:ext>
            </a:extLst>
          </p:cNvPr>
          <p:cNvSpPr txBox="1">
            <a:spLocks/>
          </p:cNvSpPr>
          <p:nvPr userDrawn="1">
            <p:custDataLst>
              <p:tags r:id="rId4"/>
            </p:custDataLst>
          </p:nvPr>
        </p:nvSpPr>
        <p:spPr>
          <a:xfrm>
            <a:off x="196779" y="200856"/>
            <a:ext cx="714096" cy="283877"/>
          </a:xfrm>
          <a:prstGeom prst="rect">
            <a:avLst/>
          </a:prstGeom>
          <a:blipFill>
            <a:blip r:embed="rId10">
              <a:extLst>
                <a:ext uri="{96DAC541-7B7A-43D3-8B79-37D633B846F1}">
                  <asvg:svgBlip xmlns:asvg="http://schemas.microsoft.com/office/drawing/2016/SVG/main" r:embed="rId11"/>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022520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 Chapter without Subtitle">
    <p:spTree>
      <p:nvGrpSpPr>
        <p:cNvPr id="1" name=""/>
        <p:cNvGrpSpPr/>
        <p:nvPr/>
      </p:nvGrpSpPr>
      <p:grpSpPr>
        <a:xfrm>
          <a:off x="0" y="0"/>
          <a:ext cx="0" cy="0"/>
          <a:chOff x="0" y="0"/>
          <a:chExt cx="0" cy="0"/>
        </a:xfrm>
      </p:grpSpPr>
      <p:sp>
        <p:nvSpPr>
          <p:cNvPr id="13" name="Picture Placeholder 14">
            <a:extLst>
              <a:ext uri="{FF2B5EF4-FFF2-40B4-BE49-F238E27FC236}">
                <a16:creationId xmlns:a16="http://schemas.microsoft.com/office/drawing/2014/main" id="{C850076A-62D2-0B36-2649-BFDE9BFB1980}"/>
              </a:ext>
            </a:extLst>
          </p:cNvPr>
          <p:cNvSpPr>
            <a:spLocks noGrp="1"/>
          </p:cNvSpPr>
          <p:nvPr>
            <p:ph type="pic" sz="quarter" idx="16" hasCustomPrompt="1"/>
          </p:nvPr>
        </p:nvSpPr>
        <p:spPr>
          <a:xfrm>
            <a:off x="11178580" y="2946817"/>
            <a:ext cx="334800" cy="957600"/>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lvl1pPr>
          </a:lstStyle>
          <a:p>
            <a:r>
              <a:rPr lang="en-US" dirty="0"/>
              <a:t>.</a:t>
            </a:r>
          </a:p>
        </p:txBody>
      </p:sp>
      <p:sp>
        <p:nvSpPr>
          <p:cNvPr id="2" name="Rectangle 1" hidden="1">
            <a:extLst>
              <a:ext uri="{FF2B5EF4-FFF2-40B4-BE49-F238E27FC236}">
                <a16:creationId xmlns:a16="http://schemas.microsoft.com/office/drawing/2014/main" id="{F643BE89-FD6E-B6A0-1518-8C14F01A4907}"/>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Rectangle 4">
            <a:extLst>
              <a:ext uri="{FF2B5EF4-FFF2-40B4-BE49-F238E27FC236}">
                <a16:creationId xmlns:a16="http://schemas.microsoft.com/office/drawing/2014/main" id="{F7228348-CDD3-40CB-6205-414214626CC4}"/>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6" name="Date Placeholder 5">
            <a:extLst>
              <a:ext uri="{FF2B5EF4-FFF2-40B4-BE49-F238E27FC236}">
                <a16:creationId xmlns:a16="http://schemas.microsoft.com/office/drawing/2014/main" id="{931CF7DF-B49C-FDC5-5D9F-A56565E9148E}"/>
              </a:ext>
            </a:extLst>
          </p:cNvPr>
          <p:cNvSpPr>
            <a:spLocks noGrp="1"/>
          </p:cNvSpPr>
          <p:nvPr>
            <p:ph type="dt" sz="half" idx="12"/>
          </p:nvPr>
        </p:nvSpPr>
        <p:spPr/>
        <p:txBody>
          <a:bodyPr/>
          <a:lstStyle/>
          <a:p>
            <a:fld id="{25FCCC9E-ED6A-4D34-8C7F-3C736C8C9693}" type="datetime1">
              <a:rPr lang="en-US"/>
              <a:t>11/16/2024</a:t>
            </a:fld>
            <a:endParaRPr lang="en-US" dirty="0"/>
          </a:p>
        </p:txBody>
      </p:sp>
      <p:sp>
        <p:nvSpPr>
          <p:cNvPr id="10" name="Footer Placeholder 9">
            <a:extLst>
              <a:ext uri="{FF2B5EF4-FFF2-40B4-BE49-F238E27FC236}">
                <a16:creationId xmlns:a16="http://schemas.microsoft.com/office/drawing/2014/main" id="{4536CB82-A476-FB8B-86A4-86B5AC6ACB3B}"/>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03603685-BBEB-796B-18DF-A34DEA26F8AB}"/>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4" name="MIO_AGENDA_IGNORE_NAVIGATION" hidden="1">
            <a:extLst>
              <a:ext uri="{FF2B5EF4-FFF2-40B4-BE49-F238E27FC236}">
                <a16:creationId xmlns:a16="http://schemas.microsoft.com/office/drawing/2014/main" id="{A09447AB-DFD2-60BC-301C-CA6802375BFF}"/>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MIO_AGENDA_IGNORE_CHAPTER_REFERENCE" hidden="1">
            <a:extLst>
              <a:ext uri="{FF2B5EF4-FFF2-40B4-BE49-F238E27FC236}">
                <a16:creationId xmlns:a16="http://schemas.microsoft.com/office/drawing/2014/main" id="{CCF03B6C-FF89-8CD9-F4F0-535D1B397FFB}"/>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 name="Title 14">
            <a:extLst>
              <a:ext uri="{FF2B5EF4-FFF2-40B4-BE49-F238E27FC236}">
                <a16:creationId xmlns:a16="http://schemas.microsoft.com/office/drawing/2014/main" id="{2BE90407-E947-55EF-FCB8-90E99ECF58A4}"/>
              </a:ext>
            </a:extLst>
          </p:cNvPr>
          <p:cNvSpPr>
            <a:spLocks noGrp="1"/>
          </p:cNvSpPr>
          <p:nvPr>
            <p:ph type="title" hasCustomPrompt="1"/>
          </p:nvPr>
        </p:nvSpPr>
        <p:spPr>
          <a:xfrm>
            <a:off x="968989" y="3183523"/>
            <a:ext cx="10206466" cy="484188"/>
          </a:xfrm>
        </p:spPr>
        <p:txBody>
          <a:bodyPr/>
          <a:lstStyle>
            <a:lvl1pPr algn="r">
              <a:defRPr cap="none" baseline="0">
                <a:solidFill>
                  <a:srgbClr val="002060"/>
                </a:solidFill>
                <a:latin typeface="+mj-lt"/>
              </a:defRPr>
            </a:lvl1pPr>
          </a:lstStyle>
          <a:p>
            <a:r>
              <a:rPr lang="en-US" dirty="0"/>
              <a:t>Click to edit master title style</a:t>
            </a:r>
          </a:p>
        </p:txBody>
      </p:sp>
      <p:sp>
        <p:nvSpPr>
          <p:cNvPr id="3" name="Logo Placeholder 30">
            <a:extLst>
              <a:ext uri="{FF2B5EF4-FFF2-40B4-BE49-F238E27FC236}">
                <a16:creationId xmlns:a16="http://schemas.microsoft.com/office/drawing/2014/main" id="{A94670ED-22A3-683B-E496-551E3446517F}"/>
              </a:ext>
            </a:extLst>
          </p:cNvPr>
          <p:cNvSpPr txBox="1">
            <a:spLocks/>
          </p:cNvSpPr>
          <p:nvPr userDrawn="1">
            <p:custDataLst>
              <p:tags r:id="rId3"/>
            </p:custDataLst>
          </p:nvPr>
        </p:nvSpPr>
        <p:spPr>
          <a:xfrm>
            <a:off x="11827011" y="223406"/>
            <a:ext cx="179699" cy="179673"/>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Business Unit Placeholder 28">
            <a:extLst>
              <a:ext uri="{FF2B5EF4-FFF2-40B4-BE49-F238E27FC236}">
                <a16:creationId xmlns:a16="http://schemas.microsoft.com/office/drawing/2014/main" id="{B34B2547-1C71-6DFB-3405-762A637A9F74}"/>
              </a:ext>
            </a:extLst>
          </p:cNvPr>
          <p:cNvSpPr txBox="1">
            <a:spLocks/>
          </p:cNvSpPr>
          <p:nvPr userDrawn="1">
            <p:custDataLst>
              <p:tags r:id="rId4"/>
            </p:custDataLst>
          </p:nvPr>
        </p:nvSpPr>
        <p:spPr>
          <a:xfrm>
            <a:off x="196779" y="200856"/>
            <a:ext cx="714096" cy="283877"/>
          </a:xfrm>
          <a:prstGeom prst="rect">
            <a:avLst/>
          </a:prstGeom>
          <a:blipFill>
            <a:blip r:embed="rId10">
              <a:extLst>
                <a:ext uri="{96DAC541-7B7A-43D3-8B79-37D633B846F1}">
                  <asvg:svgBlip xmlns:asvg="http://schemas.microsoft.com/office/drawing/2016/SVG/main" r:embed="rId11"/>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593251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ID | No Content Dark">
    <p:spTree>
      <p:nvGrpSpPr>
        <p:cNvPr id="1" name=""/>
        <p:cNvGrpSpPr/>
        <p:nvPr/>
      </p:nvGrpSpPr>
      <p:grpSpPr>
        <a:xfrm>
          <a:off x="0" y="0"/>
          <a:ext cx="0" cy="0"/>
          <a:chOff x="0" y="0"/>
          <a:chExt cx="0" cy="0"/>
        </a:xfrm>
      </p:grpSpPr>
      <p:sp>
        <p:nvSpPr>
          <p:cNvPr id="3" name="Retângulo 44">
            <a:extLst>
              <a:ext uri="{FF2B5EF4-FFF2-40B4-BE49-F238E27FC236}">
                <a16:creationId xmlns:a16="http://schemas.microsoft.com/office/drawing/2014/main" id="{B73D1E05-EBD0-8542-9AFD-791B53D4DCE4}"/>
              </a:ext>
            </a:extLst>
          </p:cNvPr>
          <p:cNvSpPr/>
          <p:nvPr userDrawn="1"/>
        </p:nvSpPr>
        <p:spPr>
          <a:xfrm>
            <a:off x="1" y="0"/>
            <a:ext cx="12191999" cy="6858000"/>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pt-BR" sz="1600"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2" name="MIO_CONVERT_SLIDES_SUBTITLE">
            <a:extLst>
              <a:ext uri="{FF2B5EF4-FFF2-40B4-BE49-F238E27FC236}">
                <a16:creationId xmlns:a16="http://schemas.microsoft.com/office/drawing/2014/main" id="{C9ED75AB-D2FC-60ED-94C7-CFCA7E96BFD3}"/>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6" name="Title 1">
            <a:extLst>
              <a:ext uri="{FF2B5EF4-FFF2-40B4-BE49-F238E27FC236}">
                <a16:creationId xmlns:a16="http://schemas.microsoft.com/office/drawing/2014/main" id="{8CE21DB4-3048-A180-9F88-3D9C254AC859}"/>
              </a:ext>
            </a:extLst>
          </p:cNvPr>
          <p:cNvSpPr>
            <a:spLocks noGrp="1"/>
          </p:cNvSpPr>
          <p:nvPr>
            <p:ph type="title"/>
          </p:nvPr>
        </p:nvSpPr>
        <p:spPr>
          <a:xfrm>
            <a:off x="968991" y="755176"/>
            <a:ext cx="10264581" cy="484188"/>
          </a:xfrm>
        </p:spPr>
        <p:txBody>
          <a:bodyPr/>
          <a:lstStyle>
            <a:lvl1pPr>
              <a:defRPr>
                <a:solidFill>
                  <a:schemeClr val="bg1"/>
                </a:solidFill>
                <a:latin typeface="+mj-lt"/>
              </a:defRPr>
            </a:lvl1pPr>
          </a:lstStyle>
          <a:p>
            <a:r>
              <a:rPr lang="en-US" noProof="0"/>
              <a:t>Click to edit Master title style</a:t>
            </a:r>
            <a:endParaRPr lang="en-US" noProof="0" dirty="0"/>
          </a:p>
        </p:txBody>
      </p:sp>
      <p:sp>
        <p:nvSpPr>
          <p:cNvPr id="10" name="Rectangle 9" hidden="1">
            <a:extLst>
              <a:ext uri="{FF2B5EF4-FFF2-40B4-BE49-F238E27FC236}">
                <a16:creationId xmlns:a16="http://schemas.microsoft.com/office/drawing/2014/main" id="{4C15A227-8DAA-1D4B-6789-A9BEB78A56C2}"/>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Date Placeholder 16">
            <a:extLst>
              <a:ext uri="{FF2B5EF4-FFF2-40B4-BE49-F238E27FC236}">
                <a16:creationId xmlns:a16="http://schemas.microsoft.com/office/drawing/2014/main" id="{676A3A9A-0F88-A16F-D561-4018C08CEA3B}"/>
              </a:ext>
            </a:extLst>
          </p:cNvPr>
          <p:cNvSpPr>
            <a:spLocks noGrp="1"/>
          </p:cNvSpPr>
          <p:nvPr>
            <p:ph type="dt" sz="half" idx="10"/>
          </p:nvPr>
        </p:nvSpPr>
        <p:spPr/>
        <p:txBody>
          <a:bodyPr/>
          <a:lstStyle/>
          <a:p>
            <a:fld id="{EBA1F11A-2889-4D2F-B523-8684069A8E64}" type="datetime1">
              <a:rPr lang="en-US"/>
              <a:t>11/16/2024</a:t>
            </a:fld>
            <a:endParaRPr lang="en-US" dirty="0"/>
          </a:p>
        </p:txBody>
      </p:sp>
      <p:sp>
        <p:nvSpPr>
          <p:cNvPr id="18" name="Footer Placeholder 17">
            <a:extLst>
              <a:ext uri="{FF2B5EF4-FFF2-40B4-BE49-F238E27FC236}">
                <a16:creationId xmlns:a16="http://schemas.microsoft.com/office/drawing/2014/main" id="{A666F987-5B3E-8102-4076-8218ACF9D842}"/>
              </a:ext>
            </a:extLst>
          </p:cNvPr>
          <p:cNvSpPr>
            <a:spLocks noGrp="1"/>
          </p:cNvSpPr>
          <p:nvPr>
            <p:ph type="ftr" sz="quarter" idx="11"/>
          </p:nvPr>
        </p:nvSpPr>
        <p:spPr/>
        <p:txBody>
          <a:bodyPr/>
          <a:lstStyle/>
          <a:p>
            <a:endParaRPr lang="en-US" dirty="0"/>
          </a:p>
        </p:txBody>
      </p:sp>
      <p:sp>
        <p:nvSpPr>
          <p:cNvPr id="19" name="Slide Number Placeholder 18">
            <a:extLst>
              <a:ext uri="{FF2B5EF4-FFF2-40B4-BE49-F238E27FC236}">
                <a16:creationId xmlns:a16="http://schemas.microsoft.com/office/drawing/2014/main" id="{3DAF9C95-58EF-D54A-FE04-74013D887ED0}"/>
              </a:ext>
            </a:extLst>
          </p:cNvPr>
          <p:cNvSpPr>
            <a:spLocks noGrp="1"/>
          </p:cNvSpPr>
          <p:nvPr>
            <p:ph type="sldNum" sz="quarter" idx="12"/>
          </p:nvPr>
        </p:nvSpPr>
        <p:spPr/>
        <p:txBody>
          <a:bodyPr/>
          <a:lstStyle/>
          <a:p>
            <a:fld id="{BC856695-CDCE-4C54-BCD0-9C2D042065C7}" type="slidenum">
              <a:rPr lang="en-US"/>
              <a:pPr/>
              <a:t>‹#›</a:t>
            </a:fld>
            <a:endParaRPr lang="en-US" dirty="0"/>
          </a:p>
        </p:txBody>
      </p:sp>
      <p:sp>
        <p:nvSpPr>
          <p:cNvPr id="7" name="Rectangle 6">
            <a:extLst>
              <a:ext uri="{FF2B5EF4-FFF2-40B4-BE49-F238E27FC236}">
                <a16:creationId xmlns:a16="http://schemas.microsoft.com/office/drawing/2014/main" id="{938E0D2D-931D-A425-64F0-15A5B111B58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8" name="Picture Placeholder 30">
            <a:extLst>
              <a:ext uri="{FF2B5EF4-FFF2-40B4-BE49-F238E27FC236}">
                <a16:creationId xmlns:a16="http://schemas.microsoft.com/office/drawing/2014/main" id="{1AE747E8-9FA9-A509-23AE-27183CE6CCD8}"/>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Picture Placeholder 28">
            <a:extLst>
              <a:ext uri="{FF2B5EF4-FFF2-40B4-BE49-F238E27FC236}">
                <a16:creationId xmlns:a16="http://schemas.microsoft.com/office/drawing/2014/main" id="{CCDC483D-EF3B-2D79-EC36-954D87242176}"/>
              </a:ext>
            </a:extLst>
          </p:cNvPr>
          <p:cNvSpPr txBox="1">
            <a:spLocks/>
          </p:cNvSpPr>
          <p:nvPr userDrawn="1">
            <p:custDataLst>
              <p:tags r:id="rId4"/>
            </p:custDataLst>
          </p:nvPr>
        </p:nvSpPr>
        <p:spPr>
          <a:xfrm>
            <a:off x="196779" y="200856"/>
            <a:ext cx="714096" cy="283877"/>
          </a:xfrm>
          <a:prstGeom prst="rect">
            <a:avLst/>
          </a:prstGeom>
          <a:blipFill>
            <a:blip r:embed="rId8"/>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58505839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OLID | With Content Dark">
    <p:spTree>
      <p:nvGrpSpPr>
        <p:cNvPr id="1" name=""/>
        <p:cNvGrpSpPr/>
        <p:nvPr/>
      </p:nvGrpSpPr>
      <p:grpSpPr>
        <a:xfrm>
          <a:off x="0" y="0"/>
          <a:ext cx="0" cy="0"/>
          <a:chOff x="0" y="0"/>
          <a:chExt cx="0" cy="0"/>
        </a:xfrm>
      </p:grpSpPr>
      <p:sp>
        <p:nvSpPr>
          <p:cNvPr id="8" name="Retângulo 44">
            <a:extLst>
              <a:ext uri="{FF2B5EF4-FFF2-40B4-BE49-F238E27FC236}">
                <a16:creationId xmlns:a16="http://schemas.microsoft.com/office/drawing/2014/main" id="{FF6CAB9E-CB80-08DF-4B5E-8B04CE490F4C}"/>
              </a:ext>
            </a:extLst>
          </p:cNvPr>
          <p:cNvSpPr/>
          <p:nvPr userDrawn="1"/>
        </p:nvSpPr>
        <p:spPr>
          <a:xfrm>
            <a:off x="1" y="0"/>
            <a:ext cx="12191999" cy="6858000"/>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en-US" sz="1600" noProof="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6" name="MIO_CONVERT_SLIDES_SUBTITLE">
            <a:extLst>
              <a:ext uri="{FF2B5EF4-FFF2-40B4-BE49-F238E27FC236}">
                <a16:creationId xmlns:a16="http://schemas.microsoft.com/office/drawing/2014/main" id="{07AFFB62-3AE2-E744-98D5-181FD79E5FCF}"/>
              </a:ext>
            </a:extLst>
          </p:cNvPr>
          <p:cNvSpPr>
            <a:spLocks noGrp="1"/>
          </p:cNvSpPr>
          <p:nvPr>
            <p:ph type="subTitle" idx="1" hasCustomPrompt="1"/>
          </p:nvPr>
        </p:nvSpPr>
        <p:spPr>
          <a:xfrm>
            <a:off x="968991" y="1299275"/>
            <a:ext cx="10264580"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2DB2404C-3DDE-C1C3-3EE9-228970E6CD69}"/>
              </a:ext>
            </a:extLst>
          </p:cNvPr>
          <p:cNvSpPr>
            <a:spLocks noGrp="1"/>
          </p:cNvSpPr>
          <p:nvPr>
            <p:ph type="title"/>
          </p:nvPr>
        </p:nvSpPr>
        <p:spPr/>
        <p:txBody>
          <a:bodyPr/>
          <a:lstStyle>
            <a:lvl1pPr>
              <a:defRPr>
                <a:solidFill>
                  <a:schemeClr val="bg1"/>
                </a:solidFill>
                <a:latin typeface="+mj-lt"/>
              </a:defRPr>
            </a:lvl1pPr>
          </a:lstStyle>
          <a:p>
            <a:r>
              <a:rPr lang="en-US" noProof="0"/>
              <a:t>Click to edit Master title style</a:t>
            </a:r>
            <a:endParaRPr lang="en-US" noProof="0" dirty="0"/>
          </a:p>
        </p:txBody>
      </p:sp>
      <p:sp>
        <p:nvSpPr>
          <p:cNvPr id="15" name="Rectangle 14" hidden="1">
            <a:extLst>
              <a:ext uri="{FF2B5EF4-FFF2-40B4-BE49-F238E27FC236}">
                <a16:creationId xmlns:a16="http://schemas.microsoft.com/office/drawing/2014/main" id="{97ED7E2C-09B8-24E3-04F1-A16FD6C20979}"/>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6" name="Rectangle 15">
            <a:extLst>
              <a:ext uri="{FF2B5EF4-FFF2-40B4-BE49-F238E27FC236}">
                <a16:creationId xmlns:a16="http://schemas.microsoft.com/office/drawing/2014/main" id="{5201AA1C-894A-A99E-2888-1ACD89A62CE3}"/>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17" name="Date Placeholder 16">
            <a:extLst>
              <a:ext uri="{FF2B5EF4-FFF2-40B4-BE49-F238E27FC236}">
                <a16:creationId xmlns:a16="http://schemas.microsoft.com/office/drawing/2014/main" id="{F22F05B1-0394-1A4B-3CA3-48C1F8BE5AF1}"/>
              </a:ext>
            </a:extLst>
          </p:cNvPr>
          <p:cNvSpPr>
            <a:spLocks noGrp="1"/>
          </p:cNvSpPr>
          <p:nvPr>
            <p:ph type="dt" sz="half" idx="12"/>
          </p:nvPr>
        </p:nvSpPr>
        <p:spPr/>
        <p:txBody>
          <a:bodyPr/>
          <a:lstStyle/>
          <a:p>
            <a:fld id="{2AACE783-4081-4A80-AB25-EF873546C6AA}" type="datetime1">
              <a:rPr lang="en-US"/>
              <a:t>11/16/2024</a:t>
            </a:fld>
            <a:endParaRPr lang="en-US" dirty="0"/>
          </a:p>
        </p:txBody>
      </p:sp>
      <p:sp>
        <p:nvSpPr>
          <p:cNvPr id="18" name="Footer Placeholder 17">
            <a:extLst>
              <a:ext uri="{FF2B5EF4-FFF2-40B4-BE49-F238E27FC236}">
                <a16:creationId xmlns:a16="http://schemas.microsoft.com/office/drawing/2014/main" id="{22D6C10A-504E-9414-C590-C22949F22B13}"/>
              </a:ext>
            </a:extLst>
          </p:cNvPr>
          <p:cNvSpPr>
            <a:spLocks noGrp="1"/>
          </p:cNvSpPr>
          <p:nvPr>
            <p:ph type="ftr" sz="quarter" idx="13"/>
          </p:nvPr>
        </p:nvSpPr>
        <p:spPr/>
        <p:txBody>
          <a:bodyPr/>
          <a:lstStyle/>
          <a:p>
            <a:endParaRPr lang="en-US" dirty="0"/>
          </a:p>
        </p:txBody>
      </p:sp>
      <p:sp>
        <p:nvSpPr>
          <p:cNvPr id="19" name="Slide Number Placeholder 18">
            <a:extLst>
              <a:ext uri="{FF2B5EF4-FFF2-40B4-BE49-F238E27FC236}">
                <a16:creationId xmlns:a16="http://schemas.microsoft.com/office/drawing/2014/main" id="{B69CCEC4-78AC-380D-4ACB-EBBA4240CD20}"/>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5" name="Content Placeholder 11">
            <a:extLst>
              <a:ext uri="{FF2B5EF4-FFF2-40B4-BE49-F238E27FC236}">
                <a16:creationId xmlns:a16="http://schemas.microsoft.com/office/drawing/2014/main" id="{381DC4A3-D4F6-42C1-5482-0602651C92E3}"/>
              </a:ext>
            </a:extLst>
          </p:cNvPr>
          <p:cNvSpPr>
            <a:spLocks noGrp="1"/>
          </p:cNvSpPr>
          <p:nvPr>
            <p:ph sz="quarter" idx="15"/>
          </p:nvPr>
        </p:nvSpPr>
        <p:spPr>
          <a:xfrm>
            <a:off x="968375" y="1989138"/>
            <a:ext cx="10261600" cy="4260850"/>
          </a:xfrm>
        </p:spPr>
        <p:txBody>
          <a:bodyPr/>
          <a:lstStyle>
            <a:lvl1pPr marL="0" indent="0">
              <a:lnSpc>
                <a:spcPct val="120000"/>
              </a:lnSpc>
              <a:spcBef>
                <a:spcPts val="1000"/>
              </a:spcBef>
              <a:buFont typeface="Arial" panose="020B0604020202020204" pitchFamily="34" charset="0"/>
              <a:buNone/>
              <a:defRPr>
                <a:solidFill>
                  <a:schemeClr val="bg1"/>
                </a:solidFill>
              </a:defRPr>
            </a:lvl1pPr>
            <a:lvl2pPr marL="169863" indent="0">
              <a:spcBef>
                <a:spcPts val="1000"/>
              </a:spcBef>
              <a:buNone/>
              <a:defRPr>
                <a:solidFill>
                  <a:schemeClr val="bg1"/>
                </a:solidFill>
              </a:defRPr>
            </a:lvl2pPr>
            <a:lvl3pPr marL="341312" indent="0">
              <a:spcBef>
                <a:spcPts val="1000"/>
              </a:spcBef>
              <a:buNone/>
              <a:defRPr>
                <a:solidFill>
                  <a:schemeClr val="bg1"/>
                </a:solidFill>
              </a:defRPr>
            </a:lvl3pPr>
            <a:lvl4pPr marL="511175" indent="0">
              <a:spcBef>
                <a:spcPts val="1000"/>
              </a:spcBef>
              <a:buNone/>
              <a:defRPr>
                <a:solidFill>
                  <a:schemeClr val="bg1"/>
                </a:solidFill>
              </a:defRPr>
            </a:lvl4pPr>
            <a:lvl5pPr marL="688975" indent="0">
              <a:spcBef>
                <a:spcPts val="1000"/>
              </a:spcBef>
              <a:buNone/>
              <a:defRPr>
                <a:solidFill>
                  <a:schemeClr val="bg1"/>
                </a:solidFill>
              </a:defRPr>
            </a:lvl5pPr>
          </a:lstStyle>
          <a:p>
            <a:pPr lvl="0"/>
            <a:r>
              <a:rPr lang="en-US"/>
              <a:t>Click to edit Master text styles</a:t>
            </a:r>
          </a:p>
        </p:txBody>
      </p:sp>
      <p:sp>
        <p:nvSpPr>
          <p:cNvPr id="3" name="Picture Placeholder 30">
            <a:extLst>
              <a:ext uri="{FF2B5EF4-FFF2-40B4-BE49-F238E27FC236}">
                <a16:creationId xmlns:a16="http://schemas.microsoft.com/office/drawing/2014/main" id="{070DC4EC-205D-3927-FBD0-8E16C7A48037}"/>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Picture Placeholder 28">
            <a:extLst>
              <a:ext uri="{FF2B5EF4-FFF2-40B4-BE49-F238E27FC236}">
                <a16:creationId xmlns:a16="http://schemas.microsoft.com/office/drawing/2014/main" id="{F1045790-2361-ABB4-2183-082E36479E75}"/>
              </a:ext>
            </a:extLst>
          </p:cNvPr>
          <p:cNvSpPr txBox="1">
            <a:spLocks/>
          </p:cNvSpPr>
          <p:nvPr userDrawn="1">
            <p:custDataLst>
              <p:tags r:id="rId4"/>
            </p:custDataLst>
          </p:nvPr>
        </p:nvSpPr>
        <p:spPr>
          <a:xfrm>
            <a:off x="196779" y="200856"/>
            <a:ext cx="714096" cy="283877"/>
          </a:xfrm>
          <a:prstGeom prst="rect">
            <a:avLst/>
          </a:prstGeom>
          <a:blipFill>
            <a:blip r:embed="rId8"/>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56498225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OLID | With Content Dark + Horizontal Compliance Text ">
    <p:spTree>
      <p:nvGrpSpPr>
        <p:cNvPr id="1" name=""/>
        <p:cNvGrpSpPr/>
        <p:nvPr/>
      </p:nvGrpSpPr>
      <p:grpSpPr>
        <a:xfrm>
          <a:off x="0" y="0"/>
          <a:ext cx="0" cy="0"/>
          <a:chOff x="0" y="0"/>
          <a:chExt cx="0" cy="0"/>
        </a:xfrm>
      </p:grpSpPr>
      <p:sp>
        <p:nvSpPr>
          <p:cNvPr id="8" name="Retângulo 44">
            <a:extLst>
              <a:ext uri="{FF2B5EF4-FFF2-40B4-BE49-F238E27FC236}">
                <a16:creationId xmlns:a16="http://schemas.microsoft.com/office/drawing/2014/main" id="{FF6CAB9E-CB80-08DF-4B5E-8B04CE490F4C}"/>
              </a:ext>
            </a:extLst>
          </p:cNvPr>
          <p:cNvSpPr/>
          <p:nvPr userDrawn="1"/>
        </p:nvSpPr>
        <p:spPr>
          <a:xfrm>
            <a:off x="1" y="0"/>
            <a:ext cx="12191999" cy="6858000"/>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en-US" sz="1600" noProof="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6" name="MIO_CONVERT_SLIDES_SUBTITLE">
            <a:extLst>
              <a:ext uri="{FF2B5EF4-FFF2-40B4-BE49-F238E27FC236}">
                <a16:creationId xmlns:a16="http://schemas.microsoft.com/office/drawing/2014/main" id="{07AFFB62-3AE2-E744-98D5-181FD79E5FCF}"/>
              </a:ext>
            </a:extLst>
          </p:cNvPr>
          <p:cNvSpPr>
            <a:spLocks noGrp="1"/>
          </p:cNvSpPr>
          <p:nvPr>
            <p:ph type="subTitle" idx="1" hasCustomPrompt="1"/>
          </p:nvPr>
        </p:nvSpPr>
        <p:spPr>
          <a:xfrm>
            <a:off x="968991" y="1299275"/>
            <a:ext cx="10264580"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2DB2404C-3DDE-C1C3-3EE9-228970E6CD69}"/>
              </a:ext>
            </a:extLst>
          </p:cNvPr>
          <p:cNvSpPr>
            <a:spLocks noGrp="1"/>
          </p:cNvSpPr>
          <p:nvPr>
            <p:ph type="title"/>
          </p:nvPr>
        </p:nvSpPr>
        <p:spPr/>
        <p:txBody>
          <a:bodyPr/>
          <a:lstStyle>
            <a:lvl1pPr>
              <a:defRPr>
                <a:solidFill>
                  <a:schemeClr val="bg1"/>
                </a:solidFill>
                <a:latin typeface="+mj-lt"/>
              </a:defRPr>
            </a:lvl1pPr>
          </a:lstStyle>
          <a:p>
            <a:r>
              <a:rPr lang="en-US" noProof="0"/>
              <a:t>Click to edit Master title style</a:t>
            </a:r>
          </a:p>
        </p:txBody>
      </p:sp>
      <p:sp>
        <p:nvSpPr>
          <p:cNvPr id="15" name="Rectangle 14" hidden="1">
            <a:extLst>
              <a:ext uri="{FF2B5EF4-FFF2-40B4-BE49-F238E27FC236}">
                <a16:creationId xmlns:a16="http://schemas.microsoft.com/office/drawing/2014/main" id="{97ED7E2C-09B8-24E3-04F1-A16FD6C20979}"/>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Date Placeholder 16">
            <a:extLst>
              <a:ext uri="{FF2B5EF4-FFF2-40B4-BE49-F238E27FC236}">
                <a16:creationId xmlns:a16="http://schemas.microsoft.com/office/drawing/2014/main" id="{F22F05B1-0394-1A4B-3CA3-48C1F8BE5AF1}"/>
              </a:ext>
            </a:extLst>
          </p:cNvPr>
          <p:cNvSpPr>
            <a:spLocks noGrp="1"/>
          </p:cNvSpPr>
          <p:nvPr>
            <p:ph type="dt" sz="half" idx="12"/>
          </p:nvPr>
        </p:nvSpPr>
        <p:spPr/>
        <p:txBody>
          <a:bodyPr/>
          <a:lstStyle/>
          <a:p>
            <a:fld id="{2AACE783-4081-4A80-AB25-EF873546C6AA}" type="datetime1">
              <a:rPr lang="en-US"/>
              <a:t>11/16/2024</a:t>
            </a:fld>
            <a:endParaRPr lang="en-US" dirty="0"/>
          </a:p>
        </p:txBody>
      </p:sp>
      <p:sp>
        <p:nvSpPr>
          <p:cNvPr id="18" name="Footer Placeholder 17">
            <a:extLst>
              <a:ext uri="{FF2B5EF4-FFF2-40B4-BE49-F238E27FC236}">
                <a16:creationId xmlns:a16="http://schemas.microsoft.com/office/drawing/2014/main" id="{22D6C10A-504E-9414-C590-C22949F22B13}"/>
              </a:ext>
            </a:extLst>
          </p:cNvPr>
          <p:cNvSpPr>
            <a:spLocks noGrp="1"/>
          </p:cNvSpPr>
          <p:nvPr>
            <p:ph type="ftr" sz="quarter" idx="13"/>
          </p:nvPr>
        </p:nvSpPr>
        <p:spPr/>
        <p:txBody>
          <a:bodyPr/>
          <a:lstStyle/>
          <a:p>
            <a:endParaRPr lang="en-US" dirty="0"/>
          </a:p>
        </p:txBody>
      </p:sp>
      <p:sp>
        <p:nvSpPr>
          <p:cNvPr id="19" name="Slide Number Placeholder 18">
            <a:extLst>
              <a:ext uri="{FF2B5EF4-FFF2-40B4-BE49-F238E27FC236}">
                <a16:creationId xmlns:a16="http://schemas.microsoft.com/office/drawing/2014/main" id="{B69CCEC4-78AC-380D-4ACB-EBBA4240CD20}"/>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5" name="Content Placeholder 11">
            <a:extLst>
              <a:ext uri="{FF2B5EF4-FFF2-40B4-BE49-F238E27FC236}">
                <a16:creationId xmlns:a16="http://schemas.microsoft.com/office/drawing/2014/main" id="{381DC4A3-D4F6-42C1-5482-0602651C92E3}"/>
              </a:ext>
            </a:extLst>
          </p:cNvPr>
          <p:cNvSpPr>
            <a:spLocks noGrp="1"/>
          </p:cNvSpPr>
          <p:nvPr>
            <p:ph sz="quarter" idx="15"/>
          </p:nvPr>
        </p:nvSpPr>
        <p:spPr>
          <a:xfrm>
            <a:off x="968375" y="1994540"/>
            <a:ext cx="10261600" cy="4255448"/>
          </a:xfrm>
        </p:spPr>
        <p:txBody>
          <a:bodyPr/>
          <a:lstStyle>
            <a:lvl1pPr marL="0" indent="0">
              <a:lnSpc>
                <a:spcPct val="120000"/>
              </a:lnSpc>
              <a:spcBef>
                <a:spcPts val="1000"/>
              </a:spcBef>
              <a:buFont typeface="Arial" panose="020B0604020202020204" pitchFamily="34" charset="0"/>
              <a:buNone/>
              <a:defRPr>
                <a:solidFill>
                  <a:schemeClr val="bg1"/>
                </a:solidFill>
              </a:defRPr>
            </a:lvl1pPr>
            <a:lvl2pPr marL="169863" indent="0">
              <a:spcBef>
                <a:spcPts val="1000"/>
              </a:spcBef>
              <a:buNone/>
              <a:defRPr>
                <a:solidFill>
                  <a:schemeClr val="bg1"/>
                </a:solidFill>
              </a:defRPr>
            </a:lvl2pPr>
            <a:lvl3pPr marL="341312" indent="0">
              <a:spcBef>
                <a:spcPts val="1000"/>
              </a:spcBef>
              <a:buNone/>
              <a:defRPr>
                <a:solidFill>
                  <a:schemeClr val="bg1"/>
                </a:solidFill>
              </a:defRPr>
            </a:lvl3pPr>
            <a:lvl4pPr marL="511175" indent="0">
              <a:spcBef>
                <a:spcPts val="1000"/>
              </a:spcBef>
              <a:buNone/>
              <a:defRPr>
                <a:solidFill>
                  <a:schemeClr val="bg1"/>
                </a:solidFill>
              </a:defRPr>
            </a:lvl4pPr>
            <a:lvl5pPr marL="688975" indent="0">
              <a:spcBef>
                <a:spcPts val="1000"/>
              </a:spcBef>
              <a:buNone/>
              <a:defRPr>
                <a:solidFill>
                  <a:schemeClr val="bg1"/>
                </a:solidFill>
              </a:defRPr>
            </a:lvl5pPr>
          </a:lstStyle>
          <a:p>
            <a:pPr lvl="0"/>
            <a:r>
              <a:rPr lang="en-US"/>
              <a:t>Click to edit Master text styles</a:t>
            </a:r>
          </a:p>
        </p:txBody>
      </p:sp>
      <p:sp>
        <p:nvSpPr>
          <p:cNvPr id="3" name="Picture Placeholder 30">
            <a:extLst>
              <a:ext uri="{FF2B5EF4-FFF2-40B4-BE49-F238E27FC236}">
                <a16:creationId xmlns:a16="http://schemas.microsoft.com/office/drawing/2014/main" id="{070DC4EC-205D-3927-FBD0-8E16C7A48037}"/>
              </a:ext>
            </a:extLst>
          </p:cNvPr>
          <p:cNvSpPr txBox="1">
            <a:spLocks/>
          </p:cNvSpPr>
          <p:nvPr userDrawn="1">
            <p:custDataLst>
              <p:tags r:id="rId2"/>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Picture Placeholder 28">
            <a:extLst>
              <a:ext uri="{FF2B5EF4-FFF2-40B4-BE49-F238E27FC236}">
                <a16:creationId xmlns:a16="http://schemas.microsoft.com/office/drawing/2014/main" id="{F1045790-2361-ABB4-2183-082E36479E75}"/>
              </a:ext>
            </a:extLst>
          </p:cNvPr>
          <p:cNvSpPr txBox="1">
            <a:spLocks/>
          </p:cNvSpPr>
          <p:nvPr userDrawn="1">
            <p:custDataLst>
              <p:tags r:id="rId3"/>
            </p:custDataLst>
          </p:nvPr>
        </p:nvSpPr>
        <p:spPr>
          <a:xfrm>
            <a:off x="196779" y="200856"/>
            <a:ext cx="714096" cy="283877"/>
          </a:xfrm>
          <a:prstGeom prst="rect">
            <a:avLst/>
          </a:prstGeom>
          <a:blipFill>
            <a:blip r:embed="rId8"/>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4" name="Confidential Horizontal">
            <a:extLst>
              <a:ext uri="{FF2B5EF4-FFF2-40B4-BE49-F238E27FC236}">
                <a16:creationId xmlns:a16="http://schemas.microsoft.com/office/drawing/2014/main" id="{F85A9FD2-6B9E-CB84-6569-9B8A26913100}"/>
              </a:ext>
            </a:extLst>
          </p:cNvPr>
          <p:cNvSpPr/>
          <p:nvPr userDrawn="1">
            <p:custDataLst>
              <p:tags r:id="rId4"/>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196998291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LID | Blank">
    <p:spTree>
      <p:nvGrpSpPr>
        <p:cNvPr id="1" name=""/>
        <p:cNvGrpSpPr/>
        <p:nvPr/>
      </p:nvGrpSpPr>
      <p:grpSpPr>
        <a:xfrm>
          <a:off x="0" y="0"/>
          <a:ext cx="0" cy="0"/>
          <a:chOff x="0" y="0"/>
          <a:chExt cx="0" cy="0"/>
        </a:xfrm>
      </p:grpSpPr>
      <p:sp>
        <p:nvSpPr>
          <p:cNvPr id="3" name="Retângulo 44">
            <a:extLst>
              <a:ext uri="{FF2B5EF4-FFF2-40B4-BE49-F238E27FC236}">
                <a16:creationId xmlns:a16="http://schemas.microsoft.com/office/drawing/2014/main" id="{B73D1E05-EBD0-8542-9AFD-791B53D4DCE4}"/>
              </a:ext>
            </a:extLst>
          </p:cNvPr>
          <p:cNvSpPr/>
          <p:nvPr userDrawn="1"/>
        </p:nvSpPr>
        <p:spPr>
          <a:xfrm>
            <a:off x="1" y="0"/>
            <a:ext cx="12191999" cy="6858000"/>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pt-BR" sz="1600"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10" name="Rectangle 9" hidden="1">
            <a:extLst>
              <a:ext uri="{FF2B5EF4-FFF2-40B4-BE49-F238E27FC236}">
                <a16:creationId xmlns:a16="http://schemas.microsoft.com/office/drawing/2014/main" id="{4C15A227-8DAA-1D4B-6789-A9BEB78A56C2}"/>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Date Placeholder 16">
            <a:extLst>
              <a:ext uri="{FF2B5EF4-FFF2-40B4-BE49-F238E27FC236}">
                <a16:creationId xmlns:a16="http://schemas.microsoft.com/office/drawing/2014/main" id="{676A3A9A-0F88-A16F-D561-4018C08CEA3B}"/>
              </a:ext>
            </a:extLst>
          </p:cNvPr>
          <p:cNvSpPr>
            <a:spLocks noGrp="1"/>
          </p:cNvSpPr>
          <p:nvPr>
            <p:ph type="dt" sz="half" idx="10"/>
          </p:nvPr>
        </p:nvSpPr>
        <p:spPr/>
        <p:txBody>
          <a:bodyPr/>
          <a:lstStyle/>
          <a:p>
            <a:fld id="{EBA1F11A-2889-4D2F-B523-8684069A8E64}" type="datetime1">
              <a:rPr lang="en-US"/>
              <a:t>11/16/2024</a:t>
            </a:fld>
            <a:endParaRPr lang="en-US" dirty="0"/>
          </a:p>
        </p:txBody>
      </p:sp>
      <p:sp>
        <p:nvSpPr>
          <p:cNvPr id="18" name="Footer Placeholder 17">
            <a:extLst>
              <a:ext uri="{FF2B5EF4-FFF2-40B4-BE49-F238E27FC236}">
                <a16:creationId xmlns:a16="http://schemas.microsoft.com/office/drawing/2014/main" id="{A666F987-5B3E-8102-4076-8218ACF9D842}"/>
              </a:ext>
            </a:extLst>
          </p:cNvPr>
          <p:cNvSpPr>
            <a:spLocks noGrp="1"/>
          </p:cNvSpPr>
          <p:nvPr>
            <p:ph type="ftr" sz="quarter" idx="11"/>
          </p:nvPr>
        </p:nvSpPr>
        <p:spPr/>
        <p:txBody>
          <a:bodyPr/>
          <a:lstStyle/>
          <a:p>
            <a:endParaRPr lang="en-US" dirty="0"/>
          </a:p>
        </p:txBody>
      </p:sp>
      <p:sp>
        <p:nvSpPr>
          <p:cNvPr id="19" name="Slide Number Placeholder 18">
            <a:extLst>
              <a:ext uri="{FF2B5EF4-FFF2-40B4-BE49-F238E27FC236}">
                <a16:creationId xmlns:a16="http://schemas.microsoft.com/office/drawing/2014/main" id="{3DAF9C95-58EF-D54A-FE04-74013D887ED0}"/>
              </a:ext>
            </a:extLst>
          </p:cNvPr>
          <p:cNvSpPr>
            <a:spLocks noGrp="1"/>
          </p:cNvSpPr>
          <p:nvPr>
            <p:ph type="sldNum" sz="quarter" idx="12"/>
          </p:nvPr>
        </p:nvSpPr>
        <p:spPr/>
        <p:txBody>
          <a:bodyPr/>
          <a:lstStyle/>
          <a:p>
            <a:fld id="{BC856695-CDCE-4C54-BCD0-9C2D042065C7}" type="slidenum">
              <a:rPr lang="en-US"/>
              <a:pPr/>
              <a:t>‹#›</a:t>
            </a:fld>
            <a:endParaRPr lang="en-US" dirty="0"/>
          </a:p>
        </p:txBody>
      </p:sp>
      <p:sp>
        <p:nvSpPr>
          <p:cNvPr id="7" name="Rectangle 6">
            <a:extLst>
              <a:ext uri="{FF2B5EF4-FFF2-40B4-BE49-F238E27FC236}">
                <a16:creationId xmlns:a16="http://schemas.microsoft.com/office/drawing/2014/main" id="{938E0D2D-931D-A425-64F0-15A5B111B58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2" name="Picture Placeholder 30">
            <a:extLst>
              <a:ext uri="{FF2B5EF4-FFF2-40B4-BE49-F238E27FC236}">
                <a16:creationId xmlns:a16="http://schemas.microsoft.com/office/drawing/2014/main" id="{AA40E7B9-ABF7-DE39-F15F-F0E773C8E71B}"/>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Picture Placeholder 28">
            <a:extLst>
              <a:ext uri="{FF2B5EF4-FFF2-40B4-BE49-F238E27FC236}">
                <a16:creationId xmlns:a16="http://schemas.microsoft.com/office/drawing/2014/main" id="{E67DFDAD-7308-698F-E9D7-F3E03DED77DF}"/>
              </a:ext>
            </a:extLst>
          </p:cNvPr>
          <p:cNvSpPr txBox="1">
            <a:spLocks/>
          </p:cNvSpPr>
          <p:nvPr userDrawn="1">
            <p:custDataLst>
              <p:tags r:id="rId4"/>
            </p:custDataLst>
          </p:nvPr>
        </p:nvSpPr>
        <p:spPr>
          <a:xfrm>
            <a:off x="196779" y="200856"/>
            <a:ext cx="714096" cy="283877"/>
          </a:xfrm>
          <a:prstGeom prst="rect">
            <a:avLst/>
          </a:prstGeom>
          <a:blipFill>
            <a:blip r:embed="rId8"/>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01228607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LID | Cover">
    <p:spTree>
      <p:nvGrpSpPr>
        <p:cNvPr id="1" name=""/>
        <p:cNvGrpSpPr/>
        <p:nvPr/>
      </p:nvGrpSpPr>
      <p:grpSpPr>
        <a:xfrm>
          <a:off x="0" y="0"/>
          <a:ext cx="0" cy="0"/>
          <a:chOff x="0" y="0"/>
          <a:chExt cx="0" cy="0"/>
        </a:xfrm>
      </p:grpSpPr>
      <p:sp>
        <p:nvSpPr>
          <p:cNvPr id="8" name="Retângulo 7">
            <a:extLst>
              <a:ext uri="{FF2B5EF4-FFF2-40B4-BE49-F238E27FC236}">
                <a16:creationId xmlns:a16="http://schemas.microsoft.com/office/drawing/2014/main" id="{0A269685-23B2-4D7B-BB1C-E2E833DDD29F}"/>
              </a:ext>
            </a:extLst>
          </p:cNvPr>
          <p:cNvSpPr/>
          <p:nvPr userDrawn="1"/>
        </p:nvSpPr>
        <p:spPr>
          <a:xfrm>
            <a:off x="0" y="-1"/>
            <a:ext cx="12192000" cy="6858001"/>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pt-BR" sz="1600" dirty="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6" name="Date">
            <a:extLst>
              <a:ext uri="{FF2B5EF4-FFF2-40B4-BE49-F238E27FC236}">
                <a16:creationId xmlns:a16="http://schemas.microsoft.com/office/drawing/2014/main" id="{9D19688B-8B8A-6347-8803-063F8EB7549D}"/>
              </a:ext>
            </a:extLst>
          </p:cNvPr>
          <p:cNvSpPr>
            <a:spLocks noGrp="1"/>
          </p:cNvSpPr>
          <p:nvPr>
            <p:ph type="body" sz="quarter" idx="12" hasCustomPrompt="1"/>
          </p:nvPr>
        </p:nvSpPr>
        <p:spPr>
          <a:xfrm>
            <a:off x="1593849" y="3801185"/>
            <a:ext cx="7072736" cy="440760"/>
          </a:xfrm>
          <a:prstGeom prst="rect">
            <a:avLst/>
          </a:prstGeom>
        </p:spPr>
        <p:txBody>
          <a:bodyPr vert="horz" anchor="ctr"/>
          <a:lstStyle>
            <a:lvl1pPr marL="0" indent="0">
              <a:buNone/>
              <a:defRPr sz="2400" cap="none" baseline="0">
                <a:solidFill>
                  <a:srgbClr val="FFFFFF"/>
                </a:solidFill>
                <a:latin typeface="+mj-lt"/>
                <a:cs typeface="+mj-cs"/>
              </a:defRPr>
            </a:lvl1pPr>
          </a:lstStyle>
          <a:p>
            <a:pPr lvl="0"/>
            <a:r>
              <a:rPr lang="en-US" dirty="0"/>
              <a:t>Date</a:t>
            </a:r>
          </a:p>
        </p:txBody>
      </p:sp>
      <p:sp>
        <p:nvSpPr>
          <p:cNvPr id="3" name="Rectangle 2">
            <a:extLst>
              <a:ext uri="{FF2B5EF4-FFF2-40B4-BE49-F238E27FC236}">
                <a16:creationId xmlns:a16="http://schemas.microsoft.com/office/drawing/2014/main" id="{F4BC27AB-9D36-4EFB-BA59-A8594E6E368A}"/>
              </a:ext>
            </a:extLst>
          </p:cNvPr>
          <p:cNvSpPr/>
          <p:nvPr userDrawn="1">
            <p:custDataLst>
              <p:tags r:id="rId1"/>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chemeClr val="bg1"/>
                </a:solidFill>
              </a:rPr>
              <a:t>CONFIDENTIAL INFORMATION | This information belongs to Embraer and cannot be used or reproduced without written permission from the Company.</a:t>
            </a:r>
            <a:endParaRPr lang="en-US" sz="650" dirty="0">
              <a:solidFill>
                <a:schemeClr val="bg1"/>
              </a:solidFill>
            </a:endParaRPr>
          </a:p>
        </p:txBody>
      </p:sp>
      <p:sp>
        <p:nvSpPr>
          <p:cNvPr id="14" name="Rectangle 13" hidden="1">
            <a:extLst>
              <a:ext uri="{FF2B5EF4-FFF2-40B4-BE49-F238E27FC236}">
                <a16:creationId xmlns:a16="http://schemas.microsoft.com/office/drawing/2014/main" id="{94815B04-A014-8913-B052-DA95AF351A5B}"/>
              </a:ext>
            </a:extLst>
          </p:cNvPr>
          <p:cNvSpPr/>
          <p:nvPr userDrawn="1">
            <p:custDataLst>
              <p:tags r:id="rId2"/>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5" name="Date Placeholder 14">
            <a:extLst>
              <a:ext uri="{FF2B5EF4-FFF2-40B4-BE49-F238E27FC236}">
                <a16:creationId xmlns:a16="http://schemas.microsoft.com/office/drawing/2014/main" id="{FB51EF54-73AC-6CD5-F858-026D9AFF2AA9}"/>
              </a:ext>
            </a:extLst>
          </p:cNvPr>
          <p:cNvSpPr>
            <a:spLocks noGrp="1"/>
          </p:cNvSpPr>
          <p:nvPr>
            <p:ph type="dt" sz="half" idx="13"/>
          </p:nvPr>
        </p:nvSpPr>
        <p:spPr/>
        <p:txBody>
          <a:bodyPr/>
          <a:lstStyle/>
          <a:p>
            <a:fld id="{4F55B321-E7E0-4CFA-B264-CA4343DC2043}" type="datetime1">
              <a:rPr lang="en-US"/>
              <a:t>11/16/2024</a:t>
            </a:fld>
            <a:endParaRPr lang="en-US" dirty="0"/>
          </a:p>
        </p:txBody>
      </p:sp>
      <p:sp>
        <p:nvSpPr>
          <p:cNvPr id="16" name="Footer Placeholder 15">
            <a:extLst>
              <a:ext uri="{FF2B5EF4-FFF2-40B4-BE49-F238E27FC236}">
                <a16:creationId xmlns:a16="http://schemas.microsoft.com/office/drawing/2014/main" id="{C1D8DB43-74AF-1FF0-F232-4CD20F409B2A}"/>
              </a:ext>
            </a:extLst>
          </p:cNvPr>
          <p:cNvSpPr>
            <a:spLocks noGrp="1"/>
          </p:cNvSpPr>
          <p:nvPr>
            <p:ph type="ftr" sz="quarter" idx="14"/>
          </p:nvPr>
        </p:nvSpPr>
        <p:spPr/>
        <p:txBody>
          <a:bodyPr/>
          <a:lstStyle/>
          <a:p>
            <a:endParaRPr lang="en-US" dirty="0"/>
          </a:p>
        </p:txBody>
      </p:sp>
      <p:sp>
        <p:nvSpPr>
          <p:cNvPr id="17" name="Slide Number Placeholder 16">
            <a:extLst>
              <a:ext uri="{FF2B5EF4-FFF2-40B4-BE49-F238E27FC236}">
                <a16:creationId xmlns:a16="http://schemas.microsoft.com/office/drawing/2014/main" id="{403DADD2-38BD-C51B-58C0-9E80A5794E86}"/>
              </a:ext>
            </a:extLst>
          </p:cNvPr>
          <p:cNvSpPr>
            <a:spLocks noGrp="1"/>
          </p:cNvSpPr>
          <p:nvPr>
            <p:ph type="sldNum" sz="quarter" idx="15"/>
          </p:nvPr>
        </p:nvSpPr>
        <p:spPr/>
        <p:txBody>
          <a:bodyPr/>
          <a:lstStyle/>
          <a:p>
            <a:fld id="{BC856695-CDCE-4C54-BCD0-9C2D042065C7}" type="slidenum">
              <a:rPr lang="en-US"/>
              <a:pPr/>
              <a:t>‹#›</a:t>
            </a:fld>
            <a:endParaRPr lang="en-US" dirty="0"/>
          </a:p>
        </p:txBody>
      </p:sp>
      <p:sp>
        <p:nvSpPr>
          <p:cNvPr id="2" name="MIO_AGENDA_IGNORE_NAVIGATION" hidden="1">
            <a:extLst>
              <a:ext uri="{FF2B5EF4-FFF2-40B4-BE49-F238E27FC236}">
                <a16:creationId xmlns:a16="http://schemas.microsoft.com/office/drawing/2014/main" id="{582E7B0E-2EFE-027D-3869-EA09E2769503}"/>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 name="MIO_AGENDA_IGNORE_CHAPTER_REFERENCE" hidden="1">
            <a:extLst>
              <a:ext uri="{FF2B5EF4-FFF2-40B4-BE49-F238E27FC236}">
                <a16:creationId xmlns:a16="http://schemas.microsoft.com/office/drawing/2014/main" id="{9515ED0B-D6D1-2E6A-0880-A4B6C1265258}"/>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9" name="Title 17">
            <a:extLst>
              <a:ext uri="{FF2B5EF4-FFF2-40B4-BE49-F238E27FC236}">
                <a16:creationId xmlns:a16="http://schemas.microsoft.com/office/drawing/2014/main" id="{7D4A3CFD-755D-8895-967C-7C6D9E24CF63}"/>
              </a:ext>
            </a:extLst>
          </p:cNvPr>
          <p:cNvSpPr>
            <a:spLocks noGrp="1"/>
          </p:cNvSpPr>
          <p:nvPr>
            <p:ph type="title" hasCustomPrompt="1"/>
          </p:nvPr>
        </p:nvSpPr>
        <p:spPr>
          <a:xfrm>
            <a:off x="1599526" y="3268783"/>
            <a:ext cx="9179844" cy="484188"/>
          </a:xfrm>
        </p:spPr>
        <p:txBody>
          <a:bodyPr vert="horz" lIns="0" tIns="0" rIns="0" bIns="0" rtlCol="0" anchor="ctr">
            <a:normAutofit/>
          </a:bodyPr>
          <a:lstStyle>
            <a:lvl1pPr>
              <a:defRPr lang="en-US" cap="none" spc="0" baseline="0" dirty="0">
                <a:solidFill>
                  <a:schemeClr val="bg1"/>
                </a:solidFill>
                <a:latin typeface="+mj-lt"/>
                <a:ea typeface="+mn-ea"/>
              </a:defRPr>
            </a:lvl1pPr>
          </a:lstStyle>
          <a:p>
            <a:pPr marL="0" lvl="0" indent="0">
              <a:lnSpc>
                <a:spcPct val="100000"/>
              </a:lnSpc>
              <a:spcBef>
                <a:spcPts val="1152"/>
              </a:spcBef>
              <a:buFont typeface="Arial" panose="020B0604020202020204" pitchFamily="34" charset="0"/>
            </a:pPr>
            <a:r>
              <a:rPr lang="en-US" dirty="0"/>
              <a:t>Document Title</a:t>
            </a:r>
          </a:p>
        </p:txBody>
      </p:sp>
      <p:sp>
        <p:nvSpPr>
          <p:cNvPr id="5" name="Forma Livre: Forma 61">
            <a:extLst>
              <a:ext uri="{FF2B5EF4-FFF2-40B4-BE49-F238E27FC236}">
                <a16:creationId xmlns:a16="http://schemas.microsoft.com/office/drawing/2014/main" id="{73AD7601-A0D4-C458-0880-089CBDB7FB1C}"/>
              </a:ext>
            </a:extLst>
          </p:cNvPr>
          <p:cNvSpPr/>
          <p:nvPr userDrawn="1"/>
        </p:nvSpPr>
        <p:spPr>
          <a:xfrm flipH="1">
            <a:off x="1171948" y="3359917"/>
            <a:ext cx="296468" cy="296427"/>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chemeClr val="bg1"/>
          </a:solidFill>
          <a:ln w="12700" cap="flat">
            <a:noFill/>
            <a:miter lim="400000"/>
          </a:ln>
          <a:effectLst/>
        </p:spPr>
        <p:txBody>
          <a:bodyPr wrap="square" lIns="22860" tIns="22860" rIns="22860" bIns="22860" numCol="1" anchor="ctr">
            <a:noAutofit/>
          </a:bodyPr>
          <a:lstStyle/>
          <a:p>
            <a:pPr>
              <a:defRPr>
                <a:solidFill>
                  <a:srgbClr val="100690"/>
                </a:solidFill>
                <a:latin typeface="+mn-lt"/>
                <a:ea typeface="+mn-ea"/>
                <a:cs typeface="+mn-cs"/>
                <a:sym typeface="Arial" panose="020B0604020202020204" pitchFamily="34" charset="0"/>
              </a:defRPr>
            </a:pPr>
            <a:endParaRPr sz="900" dirty="0"/>
          </a:p>
        </p:txBody>
      </p:sp>
    </p:spTree>
    <p:extLst>
      <p:ext uri="{BB962C8B-B14F-4D97-AF65-F5344CB8AC3E}">
        <p14:creationId xmlns:p14="http://schemas.microsoft.com/office/powerpoint/2010/main" val="3053449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Middle Accelerate Opportunity ">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Picture Placeholder 3">
            <a:extLst>
              <a:ext uri="{FF2B5EF4-FFF2-40B4-BE49-F238E27FC236}">
                <a16:creationId xmlns:a16="http://schemas.microsoft.com/office/drawing/2014/main" id="{16F02F65-1575-BB1A-5B91-B80808276F42}"/>
              </a:ext>
            </a:extLst>
          </p:cNvPr>
          <p:cNvSpPr>
            <a:spLocks noGrp="1"/>
          </p:cNvSpPr>
          <p:nvPr>
            <p:ph type="pic" sz="quarter" idx="22" hasCustomPrompt="1"/>
          </p:nvPr>
        </p:nvSpPr>
        <p:spPr>
          <a:xfrm>
            <a:off x="0" y="0"/>
            <a:ext cx="12191999" cy="6858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lvl1pPr>
          </a:lstStyle>
          <a:p>
            <a:r>
              <a:rPr lang="en-US" dirty="0"/>
              <a:t>   </a:t>
            </a:r>
          </a:p>
        </p:txBody>
      </p:sp>
      <p:sp>
        <p:nvSpPr>
          <p:cNvPr id="14" name="Picture Accelerate">
            <a:extLst>
              <a:ext uri="{FF2B5EF4-FFF2-40B4-BE49-F238E27FC236}">
                <a16:creationId xmlns:a16="http://schemas.microsoft.com/office/drawing/2014/main" id="{B25B020E-6262-4A5C-72D7-B62A9D23A973}"/>
              </a:ext>
            </a:extLst>
          </p:cNvPr>
          <p:cNvSpPr>
            <a:spLocks noGrp="1"/>
          </p:cNvSpPr>
          <p:nvPr>
            <p:ph type="pic" sz="quarter" idx="26" hasCustomPrompt="1"/>
          </p:nvPr>
        </p:nvSpPr>
        <p:spPr>
          <a:xfrm>
            <a:off x="2828713" y="3082718"/>
            <a:ext cx="2306279" cy="709089"/>
          </a:xfrm>
          <a:blipFill>
            <a:blip r:embed="rId5"/>
            <a:stretch>
              <a:fillRect/>
            </a:stretch>
          </a:blipFill>
        </p:spPr>
        <p:txBody>
          <a:bodyPr/>
          <a:lstStyle>
            <a:lvl1pPr marL="0" indent="0">
              <a:buNone/>
              <a:defRPr/>
            </a:lvl1pPr>
          </a:lstStyle>
          <a:p>
            <a:r>
              <a:rPr lang="en-US" dirty="0"/>
              <a:t>    </a:t>
            </a:r>
          </a:p>
        </p:txBody>
      </p:sp>
      <p:sp>
        <p:nvSpPr>
          <p:cNvPr id="16" name="Picture Opportunity">
            <a:extLst>
              <a:ext uri="{FF2B5EF4-FFF2-40B4-BE49-F238E27FC236}">
                <a16:creationId xmlns:a16="http://schemas.microsoft.com/office/drawing/2014/main" id="{40D3103E-05AB-63D2-0786-D4DD95E56CAA}"/>
              </a:ext>
            </a:extLst>
          </p:cNvPr>
          <p:cNvSpPr>
            <a:spLocks noGrp="1"/>
          </p:cNvSpPr>
          <p:nvPr>
            <p:ph type="pic" sz="quarter" idx="27" hasCustomPrompt="1"/>
          </p:nvPr>
        </p:nvSpPr>
        <p:spPr>
          <a:xfrm>
            <a:off x="7031298" y="3082718"/>
            <a:ext cx="2487419" cy="709089"/>
          </a:xfrm>
          <a:blipFill>
            <a:blip r:embed="rId6"/>
            <a:stretch>
              <a:fillRect/>
            </a:stretch>
          </a:blipFill>
        </p:spPr>
        <p:txBody>
          <a:bodyPr/>
          <a:lstStyle>
            <a:lvl1pPr marL="0" indent="0">
              <a:buNone/>
              <a:defRPr/>
            </a:lvl1pPr>
          </a:lstStyle>
          <a:p>
            <a:r>
              <a:rPr lang="en-US" dirty="0"/>
              <a:t>   </a:t>
            </a:r>
          </a:p>
        </p:txBody>
      </p:sp>
      <p:sp>
        <p:nvSpPr>
          <p:cNvPr id="18" name="Picture Embraer">
            <a:extLst>
              <a:ext uri="{FF2B5EF4-FFF2-40B4-BE49-F238E27FC236}">
                <a16:creationId xmlns:a16="http://schemas.microsoft.com/office/drawing/2014/main" id="{EF431B8F-A9EB-861D-F59B-8783B9C4F7A6}"/>
              </a:ext>
            </a:extLst>
          </p:cNvPr>
          <p:cNvSpPr>
            <a:spLocks noGrp="1"/>
          </p:cNvSpPr>
          <p:nvPr>
            <p:ph type="pic" sz="quarter" idx="28" hasCustomPrompt="1"/>
          </p:nvPr>
        </p:nvSpPr>
        <p:spPr>
          <a:xfrm>
            <a:off x="5134994" y="6131158"/>
            <a:ext cx="1920000" cy="322560"/>
          </a:xfrm>
          <a:blipFill>
            <a:blip r:embed="rId7"/>
            <a:stretch>
              <a:fillRect/>
            </a:stretch>
          </a:blipFill>
        </p:spPr>
        <p:txBody>
          <a:bodyPr/>
          <a:lstStyle>
            <a:lvl1pPr marL="0" indent="0">
              <a:buNone/>
              <a:defRPr/>
            </a:lvl1pPr>
          </a:lstStyle>
          <a:p>
            <a:r>
              <a:rPr lang="en-US" dirty="0"/>
              <a:t>    </a:t>
            </a:r>
          </a:p>
        </p:txBody>
      </p:sp>
      <p:sp>
        <p:nvSpPr>
          <p:cNvPr id="20" name="Text Placeholder 19">
            <a:extLst>
              <a:ext uri="{FF2B5EF4-FFF2-40B4-BE49-F238E27FC236}">
                <a16:creationId xmlns:a16="http://schemas.microsoft.com/office/drawing/2014/main" id="{63B23398-6173-17D3-3969-EFDEB6D1F31D}"/>
              </a:ext>
            </a:extLst>
          </p:cNvPr>
          <p:cNvSpPr>
            <a:spLocks noGrp="1"/>
          </p:cNvSpPr>
          <p:nvPr>
            <p:ph type="body" sz="quarter" idx="29" hasCustomPrompt="1"/>
          </p:nvPr>
        </p:nvSpPr>
        <p:spPr>
          <a:xfrm>
            <a:off x="5194952" y="3154107"/>
            <a:ext cx="1802096" cy="584775"/>
          </a:xfrm>
        </p:spPr>
        <p:txBody>
          <a:bodyPr anchor="ctr">
            <a:normAutofit/>
          </a:bodyPr>
          <a:lstStyle>
            <a:lvl1pPr marL="0" indent="0" algn="ctr">
              <a:buNone/>
              <a:defRPr sz="3200">
                <a:solidFill>
                  <a:schemeClr val="bg1"/>
                </a:solidFill>
              </a:defRPr>
            </a:lvl1pPr>
          </a:lstStyle>
          <a:p>
            <a:pPr lvl="0"/>
            <a:r>
              <a:rPr lang="en-US" dirty="0"/>
              <a:t>Headline</a:t>
            </a:r>
          </a:p>
        </p:txBody>
      </p:sp>
      <p:sp>
        <p:nvSpPr>
          <p:cNvPr id="21" name="Text Placeholder 19">
            <a:extLst>
              <a:ext uri="{FF2B5EF4-FFF2-40B4-BE49-F238E27FC236}">
                <a16:creationId xmlns:a16="http://schemas.microsoft.com/office/drawing/2014/main" id="{BA462372-D679-A05E-2B10-FE4E267D350D}"/>
              </a:ext>
            </a:extLst>
          </p:cNvPr>
          <p:cNvSpPr>
            <a:spLocks noGrp="1"/>
          </p:cNvSpPr>
          <p:nvPr>
            <p:ph type="body" sz="quarter" idx="30" hasCustomPrompt="1"/>
          </p:nvPr>
        </p:nvSpPr>
        <p:spPr>
          <a:xfrm>
            <a:off x="2828714" y="3863198"/>
            <a:ext cx="6690004" cy="461665"/>
          </a:xfrm>
        </p:spPr>
        <p:txBody>
          <a:bodyPr anchor="ctr">
            <a:normAutofit/>
          </a:bodyPr>
          <a:lstStyle>
            <a:lvl1pPr marL="0" indent="0" algn="ctr">
              <a:buNone/>
              <a:defRPr sz="2400">
                <a:solidFill>
                  <a:schemeClr val="bg1"/>
                </a:solidFill>
              </a:defRPr>
            </a:lvl1pPr>
          </a:lstStyle>
          <a:p>
            <a:pPr lvl="0"/>
            <a:r>
              <a:rPr lang="en-US" dirty="0"/>
              <a:t>Date</a:t>
            </a:r>
          </a:p>
        </p:txBody>
      </p:sp>
    </p:spTree>
    <p:extLst>
      <p:ext uri="{BB962C8B-B14F-4D97-AF65-F5344CB8AC3E}">
        <p14:creationId xmlns:p14="http://schemas.microsoft.com/office/powerpoint/2010/main" val="1133333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OLID | Chapter with Subtitle">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E967471D-B226-4902-ABAE-036AC54A45DA}"/>
              </a:ext>
            </a:extLst>
          </p:cNvPr>
          <p:cNvSpPr/>
          <p:nvPr userDrawn="1"/>
        </p:nvSpPr>
        <p:spPr>
          <a:xfrm>
            <a:off x="-2" y="-3464"/>
            <a:ext cx="12192001" cy="6864928"/>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en-US" sz="1600" noProof="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12" name="Subtitle">
            <a:extLst>
              <a:ext uri="{FF2B5EF4-FFF2-40B4-BE49-F238E27FC236}">
                <a16:creationId xmlns:a16="http://schemas.microsoft.com/office/drawing/2014/main" id="{2054895C-0FCA-C943-8714-CC3D036125A1}"/>
              </a:ext>
            </a:extLst>
          </p:cNvPr>
          <p:cNvSpPr>
            <a:spLocks noGrp="1"/>
          </p:cNvSpPr>
          <p:nvPr>
            <p:ph type="subTitle" idx="1" hasCustomPrompt="1"/>
          </p:nvPr>
        </p:nvSpPr>
        <p:spPr>
          <a:xfrm>
            <a:off x="4016438" y="3483977"/>
            <a:ext cx="7161083" cy="332399"/>
          </a:xfrm>
          <a:prstGeom prst="rect">
            <a:avLst/>
          </a:prstGeom>
        </p:spPr>
        <p:txBody>
          <a:bodyPr wrap="square" lIns="18000" anchor="ctr">
            <a:spAutoFit/>
          </a:bodyPr>
          <a:lstStyle>
            <a:lvl1pPr marL="0" indent="0" algn="r">
              <a:buNone/>
              <a:defRPr sz="2400" b="0" cap="none"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6" name="Rectangle 5" hidden="1">
            <a:extLst>
              <a:ext uri="{FF2B5EF4-FFF2-40B4-BE49-F238E27FC236}">
                <a16:creationId xmlns:a16="http://schemas.microsoft.com/office/drawing/2014/main" id="{08E1801C-2A3B-E1C9-73B3-EC6DB3236766}"/>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49316E24-6AD5-2395-B8B4-C47224FEB2A8}"/>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chemeClr val="bg1"/>
                </a:solidFill>
              </a:rPr>
              <a:t>CONFIDENTIAL INFORMATION | This information belongs to Embraer and cannot be used or reproduced without written permission from the Company.</a:t>
            </a:r>
            <a:endParaRPr lang="en-US" sz="650" dirty="0">
              <a:solidFill>
                <a:schemeClr val="bg1"/>
              </a:solidFill>
            </a:endParaRPr>
          </a:p>
        </p:txBody>
      </p:sp>
      <p:sp>
        <p:nvSpPr>
          <p:cNvPr id="17" name="Date Placeholder 16">
            <a:extLst>
              <a:ext uri="{FF2B5EF4-FFF2-40B4-BE49-F238E27FC236}">
                <a16:creationId xmlns:a16="http://schemas.microsoft.com/office/drawing/2014/main" id="{198EE838-0775-78CB-D0C4-222C30513899}"/>
              </a:ext>
            </a:extLst>
          </p:cNvPr>
          <p:cNvSpPr>
            <a:spLocks noGrp="1"/>
          </p:cNvSpPr>
          <p:nvPr>
            <p:ph type="dt" sz="half" idx="12"/>
          </p:nvPr>
        </p:nvSpPr>
        <p:spPr/>
        <p:txBody>
          <a:bodyPr/>
          <a:lstStyle/>
          <a:p>
            <a:fld id="{CC5BE743-720B-4F81-B045-CEC42DB306D3}" type="datetime1">
              <a:rPr lang="en-US"/>
              <a:t>11/16/2024</a:t>
            </a:fld>
            <a:endParaRPr lang="en-US" dirty="0"/>
          </a:p>
        </p:txBody>
      </p:sp>
      <p:sp>
        <p:nvSpPr>
          <p:cNvPr id="18" name="Footer Placeholder 17">
            <a:extLst>
              <a:ext uri="{FF2B5EF4-FFF2-40B4-BE49-F238E27FC236}">
                <a16:creationId xmlns:a16="http://schemas.microsoft.com/office/drawing/2014/main" id="{6961B542-A57A-E3EE-FF3C-A3EC0DF4FD25}"/>
              </a:ext>
            </a:extLst>
          </p:cNvPr>
          <p:cNvSpPr>
            <a:spLocks noGrp="1"/>
          </p:cNvSpPr>
          <p:nvPr>
            <p:ph type="ftr" sz="quarter" idx="13"/>
          </p:nvPr>
        </p:nvSpPr>
        <p:spPr/>
        <p:txBody>
          <a:bodyPr/>
          <a:lstStyle/>
          <a:p>
            <a:endParaRPr lang="en-US" dirty="0"/>
          </a:p>
        </p:txBody>
      </p:sp>
      <p:sp>
        <p:nvSpPr>
          <p:cNvPr id="19" name="Slide Number Placeholder 18">
            <a:extLst>
              <a:ext uri="{FF2B5EF4-FFF2-40B4-BE49-F238E27FC236}">
                <a16:creationId xmlns:a16="http://schemas.microsoft.com/office/drawing/2014/main" id="{3ACEBCA9-978B-C48C-83F5-7534EC4647B2}"/>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MIO_AGENDA_IGNORE_NAVIGATION" hidden="1">
            <a:extLst>
              <a:ext uri="{FF2B5EF4-FFF2-40B4-BE49-F238E27FC236}">
                <a16:creationId xmlns:a16="http://schemas.microsoft.com/office/drawing/2014/main" id="{45DF21FC-3519-57AC-5FC0-638CE5DE9F35}"/>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4" name="MIO_AGENDA_IGNORE_CHAPTER_REFERENCE" hidden="1">
            <a:extLst>
              <a:ext uri="{FF2B5EF4-FFF2-40B4-BE49-F238E27FC236}">
                <a16:creationId xmlns:a16="http://schemas.microsoft.com/office/drawing/2014/main" id="{5AD597A5-A8B1-5431-369E-D685265E4225}"/>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Title 14">
            <a:extLst>
              <a:ext uri="{FF2B5EF4-FFF2-40B4-BE49-F238E27FC236}">
                <a16:creationId xmlns:a16="http://schemas.microsoft.com/office/drawing/2014/main" id="{167CF4F2-3C0C-5DED-57B4-E6E5A24A56C2}"/>
              </a:ext>
            </a:extLst>
          </p:cNvPr>
          <p:cNvSpPr>
            <a:spLocks noGrp="1"/>
          </p:cNvSpPr>
          <p:nvPr>
            <p:ph type="title" hasCustomPrompt="1"/>
          </p:nvPr>
        </p:nvSpPr>
        <p:spPr>
          <a:xfrm>
            <a:off x="968989" y="2956034"/>
            <a:ext cx="10206466" cy="484188"/>
          </a:xfrm>
        </p:spPr>
        <p:txBody>
          <a:bodyPr/>
          <a:lstStyle>
            <a:lvl1pPr algn="r">
              <a:defRPr cap="none" baseline="0">
                <a:solidFill>
                  <a:schemeClr val="bg1"/>
                </a:solidFill>
                <a:latin typeface="+mj-lt"/>
              </a:defRPr>
            </a:lvl1pPr>
          </a:lstStyle>
          <a:p>
            <a:r>
              <a:rPr lang="en-US" dirty="0"/>
              <a:t>Click to edit master title style</a:t>
            </a:r>
          </a:p>
        </p:txBody>
      </p:sp>
      <p:sp>
        <p:nvSpPr>
          <p:cNvPr id="13" name="Picture Placeholder 14">
            <a:extLst>
              <a:ext uri="{FF2B5EF4-FFF2-40B4-BE49-F238E27FC236}">
                <a16:creationId xmlns:a16="http://schemas.microsoft.com/office/drawing/2014/main" id="{BCF1BC92-0A2D-15DA-A1EF-5C049E2D03E7}"/>
              </a:ext>
            </a:extLst>
          </p:cNvPr>
          <p:cNvSpPr>
            <a:spLocks noGrp="1"/>
          </p:cNvSpPr>
          <p:nvPr>
            <p:ph type="pic" sz="quarter" idx="16" hasCustomPrompt="1"/>
          </p:nvPr>
        </p:nvSpPr>
        <p:spPr>
          <a:xfrm>
            <a:off x="11178580" y="2946817"/>
            <a:ext cx="334800" cy="957600"/>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lvl1pPr>
          </a:lstStyle>
          <a:p>
            <a:r>
              <a:rPr lang="en-US" dirty="0"/>
              <a:t>.</a:t>
            </a:r>
          </a:p>
        </p:txBody>
      </p:sp>
      <p:sp>
        <p:nvSpPr>
          <p:cNvPr id="3" name="Picture Placeholder 30">
            <a:extLst>
              <a:ext uri="{FF2B5EF4-FFF2-40B4-BE49-F238E27FC236}">
                <a16:creationId xmlns:a16="http://schemas.microsoft.com/office/drawing/2014/main" id="{238DEF52-C375-1F64-21EC-67C2E86476E4}"/>
              </a:ext>
            </a:extLst>
          </p:cNvPr>
          <p:cNvSpPr txBox="1">
            <a:spLocks/>
          </p:cNvSpPr>
          <p:nvPr userDrawn="1">
            <p:custDataLst>
              <p:tags r:id="rId3"/>
            </p:custDataLst>
          </p:nvPr>
        </p:nvSpPr>
        <p:spPr>
          <a:xfrm>
            <a:off x="11827011" y="223406"/>
            <a:ext cx="179699" cy="179673"/>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5" name="Picture Placeholder 28">
            <a:extLst>
              <a:ext uri="{FF2B5EF4-FFF2-40B4-BE49-F238E27FC236}">
                <a16:creationId xmlns:a16="http://schemas.microsoft.com/office/drawing/2014/main" id="{31002B2B-8F7A-90C5-943D-FECC66D2BF95}"/>
              </a:ext>
            </a:extLst>
          </p:cNvPr>
          <p:cNvSpPr txBox="1">
            <a:spLocks/>
          </p:cNvSpPr>
          <p:nvPr userDrawn="1">
            <p:custDataLst>
              <p:tags r:id="rId4"/>
            </p:custDataLst>
          </p:nvPr>
        </p:nvSpPr>
        <p:spPr>
          <a:xfrm>
            <a:off x="196779" y="200856"/>
            <a:ext cx="714096" cy="283877"/>
          </a:xfrm>
          <a:prstGeom prst="rect">
            <a:avLst/>
          </a:prstGeom>
          <a:blipFill>
            <a:blip r:embed="rId10"/>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842791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OLID | Chapter without Subtitle">
    <p:spTree>
      <p:nvGrpSpPr>
        <p:cNvPr id="1" name=""/>
        <p:cNvGrpSpPr/>
        <p:nvPr/>
      </p:nvGrpSpPr>
      <p:grpSpPr>
        <a:xfrm>
          <a:off x="0" y="0"/>
          <a:ext cx="0" cy="0"/>
          <a:chOff x="0" y="0"/>
          <a:chExt cx="0" cy="0"/>
        </a:xfrm>
      </p:grpSpPr>
      <p:sp>
        <p:nvSpPr>
          <p:cNvPr id="9" name="Retângulo 8">
            <a:extLst>
              <a:ext uri="{FF2B5EF4-FFF2-40B4-BE49-F238E27FC236}">
                <a16:creationId xmlns:a16="http://schemas.microsoft.com/office/drawing/2014/main" id="{E967471D-B226-4902-ABAE-036AC54A45DA}"/>
              </a:ext>
            </a:extLst>
          </p:cNvPr>
          <p:cNvSpPr/>
          <p:nvPr userDrawn="1"/>
        </p:nvSpPr>
        <p:spPr>
          <a:xfrm>
            <a:off x="-1" y="-6928"/>
            <a:ext cx="12192001" cy="6864928"/>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pt-BR" sz="160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4" name="Rectangle 3" hidden="1">
            <a:extLst>
              <a:ext uri="{FF2B5EF4-FFF2-40B4-BE49-F238E27FC236}">
                <a16:creationId xmlns:a16="http://schemas.microsoft.com/office/drawing/2014/main" id="{FC5BB5E8-386B-972B-DC63-AE30F9554158}"/>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Rectangle 4">
            <a:extLst>
              <a:ext uri="{FF2B5EF4-FFF2-40B4-BE49-F238E27FC236}">
                <a16:creationId xmlns:a16="http://schemas.microsoft.com/office/drawing/2014/main" id="{29ACD844-1328-C9BB-7788-C7F959C2FD34}"/>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chemeClr val="bg1"/>
                </a:solidFill>
              </a:rPr>
              <a:t>CONFIDENTIAL INFORMATION | This information belongs to Embraer and cannot be used or reproduced without written permission from the Company.</a:t>
            </a:r>
            <a:endParaRPr lang="en-US" sz="650" dirty="0">
              <a:solidFill>
                <a:schemeClr val="bg1"/>
              </a:solidFill>
            </a:endParaRPr>
          </a:p>
        </p:txBody>
      </p:sp>
      <p:sp>
        <p:nvSpPr>
          <p:cNvPr id="6" name="Date Placeholder 5">
            <a:extLst>
              <a:ext uri="{FF2B5EF4-FFF2-40B4-BE49-F238E27FC236}">
                <a16:creationId xmlns:a16="http://schemas.microsoft.com/office/drawing/2014/main" id="{025D97B5-D173-CBE1-CE8B-73BA9E1ED3CD}"/>
              </a:ext>
            </a:extLst>
          </p:cNvPr>
          <p:cNvSpPr>
            <a:spLocks noGrp="1"/>
          </p:cNvSpPr>
          <p:nvPr>
            <p:ph type="dt" sz="half" idx="12"/>
          </p:nvPr>
        </p:nvSpPr>
        <p:spPr/>
        <p:txBody>
          <a:bodyPr/>
          <a:lstStyle/>
          <a:p>
            <a:fld id="{AE6E370D-6358-443A-8F7E-47B88CEB6F1A}" type="datetime1">
              <a:rPr lang="en-US"/>
              <a:t>11/16/2024</a:t>
            </a:fld>
            <a:endParaRPr lang="en-US" dirty="0"/>
          </a:p>
        </p:txBody>
      </p:sp>
      <p:sp>
        <p:nvSpPr>
          <p:cNvPr id="7" name="Footer Placeholder 6">
            <a:extLst>
              <a:ext uri="{FF2B5EF4-FFF2-40B4-BE49-F238E27FC236}">
                <a16:creationId xmlns:a16="http://schemas.microsoft.com/office/drawing/2014/main" id="{ACC9E7FC-6A74-C54A-BD6F-DDB570EFCFB3}"/>
              </a:ext>
            </a:extLst>
          </p:cNvPr>
          <p:cNvSpPr>
            <a:spLocks noGrp="1"/>
          </p:cNvSpPr>
          <p:nvPr>
            <p:ph type="ftr" sz="quarter" idx="13"/>
          </p:nvPr>
        </p:nvSpPr>
        <p:spPr/>
        <p:txBody>
          <a:bodyPr/>
          <a:lstStyle/>
          <a:p>
            <a:endParaRPr lang="en-US" dirty="0"/>
          </a:p>
        </p:txBody>
      </p:sp>
      <p:sp>
        <p:nvSpPr>
          <p:cNvPr id="10" name="Slide Number Placeholder 9">
            <a:extLst>
              <a:ext uri="{FF2B5EF4-FFF2-40B4-BE49-F238E27FC236}">
                <a16:creationId xmlns:a16="http://schemas.microsoft.com/office/drawing/2014/main" id="{FD228BA9-10E0-9814-1431-43A6ECD8CD4B}"/>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12" name="MIO_AGENDA_IGNORE_NAVIGATION" hidden="1">
            <a:extLst>
              <a:ext uri="{FF2B5EF4-FFF2-40B4-BE49-F238E27FC236}">
                <a16:creationId xmlns:a16="http://schemas.microsoft.com/office/drawing/2014/main" id="{CEFDFD3D-CE03-ADD6-ED81-4AFCA664F421}"/>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 name="MIO_AGENDA_IGNORE_CHAPTER_REFERENCE" hidden="1">
            <a:extLst>
              <a:ext uri="{FF2B5EF4-FFF2-40B4-BE49-F238E27FC236}">
                <a16:creationId xmlns:a16="http://schemas.microsoft.com/office/drawing/2014/main" id="{C81DEF72-9827-F049-78AA-0B55F75BCD80}"/>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4" name="Title 14">
            <a:extLst>
              <a:ext uri="{FF2B5EF4-FFF2-40B4-BE49-F238E27FC236}">
                <a16:creationId xmlns:a16="http://schemas.microsoft.com/office/drawing/2014/main" id="{AE7EE218-E5B3-AE16-ACA8-3C77C30A69A2}"/>
              </a:ext>
            </a:extLst>
          </p:cNvPr>
          <p:cNvSpPr>
            <a:spLocks noGrp="1"/>
          </p:cNvSpPr>
          <p:nvPr>
            <p:ph type="title" hasCustomPrompt="1"/>
          </p:nvPr>
        </p:nvSpPr>
        <p:spPr>
          <a:xfrm>
            <a:off x="968989" y="3183523"/>
            <a:ext cx="10206466" cy="484188"/>
          </a:xfrm>
        </p:spPr>
        <p:txBody>
          <a:bodyPr/>
          <a:lstStyle>
            <a:lvl1pPr algn="r">
              <a:defRPr cap="none" baseline="0">
                <a:solidFill>
                  <a:schemeClr val="bg1"/>
                </a:solidFill>
                <a:latin typeface="+mj-lt"/>
              </a:defRPr>
            </a:lvl1pPr>
          </a:lstStyle>
          <a:p>
            <a:r>
              <a:rPr lang="en-US" dirty="0"/>
              <a:t>Click to edit master title style</a:t>
            </a:r>
          </a:p>
        </p:txBody>
      </p:sp>
      <p:sp>
        <p:nvSpPr>
          <p:cNvPr id="15" name="Picture Placeholder 14">
            <a:extLst>
              <a:ext uri="{FF2B5EF4-FFF2-40B4-BE49-F238E27FC236}">
                <a16:creationId xmlns:a16="http://schemas.microsoft.com/office/drawing/2014/main" id="{C68046BE-F32D-AB03-31F7-341A5E1C6651}"/>
              </a:ext>
            </a:extLst>
          </p:cNvPr>
          <p:cNvSpPr>
            <a:spLocks noGrp="1"/>
          </p:cNvSpPr>
          <p:nvPr>
            <p:ph type="pic" sz="quarter" idx="16" hasCustomPrompt="1"/>
          </p:nvPr>
        </p:nvSpPr>
        <p:spPr>
          <a:xfrm>
            <a:off x="11178580" y="2946817"/>
            <a:ext cx="334800" cy="957600"/>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lvl1pPr>
          </a:lstStyle>
          <a:p>
            <a:r>
              <a:rPr lang="en-US" dirty="0"/>
              <a:t>.</a:t>
            </a:r>
          </a:p>
        </p:txBody>
      </p:sp>
      <p:sp>
        <p:nvSpPr>
          <p:cNvPr id="2" name="Picture Placeholder 30">
            <a:extLst>
              <a:ext uri="{FF2B5EF4-FFF2-40B4-BE49-F238E27FC236}">
                <a16:creationId xmlns:a16="http://schemas.microsoft.com/office/drawing/2014/main" id="{8C3D0771-CCB1-28CA-6E68-8E8C8BD61A48}"/>
              </a:ext>
            </a:extLst>
          </p:cNvPr>
          <p:cNvSpPr txBox="1">
            <a:spLocks/>
          </p:cNvSpPr>
          <p:nvPr userDrawn="1">
            <p:custDataLst>
              <p:tags r:id="rId3"/>
            </p:custDataLst>
          </p:nvPr>
        </p:nvSpPr>
        <p:spPr>
          <a:xfrm>
            <a:off x="11827011" y="223406"/>
            <a:ext cx="179699" cy="179673"/>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3" name="Picture Placeholder 28">
            <a:extLst>
              <a:ext uri="{FF2B5EF4-FFF2-40B4-BE49-F238E27FC236}">
                <a16:creationId xmlns:a16="http://schemas.microsoft.com/office/drawing/2014/main" id="{949CF5C7-7226-15B1-D5B4-FAB99C4ED08C}"/>
              </a:ext>
            </a:extLst>
          </p:cNvPr>
          <p:cNvSpPr txBox="1">
            <a:spLocks/>
          </p:cNvSpPr>
          <p:nvPr userDrawn="1">
            <p:custDataLst>
              <p:tags r:id="rId4"/>
            </p:custDataLst>
          </p:nvPr>
        </p:nvSpPr>
        <p:spPr>
          <a:xfrm>
            <a:off x="196779" y="200856"/>
            <a:ext cx="714096" cy="283877"/>
          </a:xfrm>
          <a:prstGeom prst="rect">
            <a:avLst/>
          </a:prstGeom>
          <a:blipFill>
            <a:blip r:embed="rId10"/>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742383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IGHT PIC | Blank">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41468518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IGHT PIC | No Content">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1"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lgn="l">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07380F94-59A9-4865-9110-D79355A369DE}"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4154170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IGHT PIC | With Content">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994540"/>
            <a:ext cx="10261600" cy="4255448"/>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31887093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PIC | With Content + horizontal compliance text">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994540"/>
            <a:ext cx="10261600" cy="4255448"/>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Confidential Horizontal">
            <a:extLst>
              <a:ext uri="{FF2B5EF4-FFF2-40B4-BE49-F238E27FC236}">
                <a16:creationId xmlns:a16="http://schemas.microsoft.com/office/drawing/2014/main" id="{88F92740-0B74-08A2-9F58-C416F22CDCE6}"/>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rgbClr val="76717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34760236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GHT PIC | Cover">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9" name="Picture Placeholder 8">
            <a:extLst>
              <a:ext uri="{FF2B5EF4-FFF2-40B4-BE49-F238E27FC236}">
                <a16:creationId xmlns:a16="http://schemas.microsoft.com/office/drawing/2014/main" id="{68574E0E-CB0C-81D9-4FF3-30D8428B919F}"/>
              </a:ext>
            </a:extLst>
          </p:cNvPr>
          <p:cNvSpPr>
            <a:spLocks noGrp="1"/>
          </p:cNvSpPr>
          <p:nvPr>
            <p:ph type="pic" sz="quarter" idx="22" hasCustomPrompt="1"/>
          </p:nvPr>
        </p:nvSpPr>
        <p:spPr>
          <a:xfrm>
            <a:off x="1151167" y="3359917"/>
            <a:ext cx="296468" cy="296427"/>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Date">
            <a:extLst>
              <a:ext uri="{FF2B5EF4-FFF2-40B4-BE49-F238E27FC236}">
                <a16:creationId xmlns:a16="http://schemas.microsoft.com/office/drawing/2014/main" id="{28FEE921-1B8A-36D8-844E-3035C132D199}"/>
              </a:ext>
            </a:extLst>
          </p:cNvPr>
          <p:cNvSpPr>
            <a:spLocks noGrp="1"/>
          </p:cNvSpPr>
          <p:nvPr>
            <p:ph type="body" sz="quarter" idx="12" hasCustomPrompt="1"/>
          </p:nvPr>
        </p:nvSpPr>
        <p:spPr>
          <a:xfrm>
            <a:off x="1593849" y="3801185"/>
            <a:ext cx="7072736" cy="440760"/>
          </a:xfrm>
          <a:prstGeom prst="rect">
            <a:avLst/>
          </a:prstGeom>
        </p:spPr>
        <p:txBody>
          <a:bodyPr vert="horz" anchor="ctr"/>
          <a:lstStyle>
            <a:lvl1pPr marL="0" indent="0">
              <a:buNone/>
              <a:defRPr sz="2400" cap="none" baseline="0">
                <a:solidFill>
                  <a:srgbClr val="7F7F7F"/>
                </a:solidFill>
                <a:latin typeface="+mj-lt"/>
                <a:cs typeface="+mj-cs"/>
              </a:defRPr>
            </a:lvl1pPr>
          </a:lstStyle>
          <a:p>
            <a:pPr lvl="0"/>
            <a:r>
              <a:rPr lang="en-US" dirty="0"/>
              <a:t>Date</a:t>
            </a:r>
          </a:p>
        </p:txBody>
      </p:sp>
      <p:sp>
        <p:nvSpPr>
          <p:cNvPr id="5" name="Title 17">
            <a:extLst>
              <a:ext uri="{FF2B5EF4-FFF2-40B4-BE49-F238E27FC236}">
                <a16:creationId xmlns:a16="http://schemas.microsoft.com/office/drawing/2014/main" id="{73F1067D-0111-7641-4012-67D6390CD9AE}"/>
              </a:ext>
            </a:extLst>
          </p:cNvPr>
          <p:cNvSpPr>
            <a:spLocks noGrp="1"/>
          </p:cNvSpPr>
          <p:nvPr>
            <p:ph type="title" hasCustomPrompt="1"/>
          </p:nvPr>
        </p:nvSpPr>
        <p:spPr>
          <a:xfrm>
            <a:off x="1599526" y="3268783"/>
            <a:ext cx="9179844" cy="484188"/>
          </a:xfrm>
        </p:spPr>
        <p:txBody>
          <a:bodyPr vert="horz" lIns="0" tIns="0" rIns="0" bIns="0" rtlCol="0" anchor="ctr">
            <a:normAutofit/>
          </a:bodyPr>
          <a:lstStyle>
            <a:lvl1pPr>
              <a:defRPr lang="en-US" cap="none" spc="0" baseline="0" dirty="0">
                <a:solidFill>
                  <a:schemeClr val="accent1"/>
                </a:solidFill>
                <a:latin typeface="+mj-lt"/>
                <a:ea typeface="+mn-ea"/>
              </a:defRPr>
            </a:lvl1pPr>
          </a:lstStyle>
          <a:p>
            <a:pPr marL="0" lvl="0" indent="0">
              <a:lnSpc>
                <a:spcPct val="100000"/>
              </a:lnSpc>
              <a:spcBef>
                <a:spcPts val="1152"/>
              </a:spcBef>
              <a:buFont typeface="Arial" panose="020B0604020202020204" pitchFamily="34" charset="0"/>
            </a:pPr>
            <a:r>
              <a:rPr lang="en-US" dirty="0"/>
              <a:t>Document Title</a:t>
            </a:r>
          </a:p>
        </p:txBody>
      </p:sp>
    </p:spTree>
    <p:extLst>
      <p:ext uri="{BB962C8B-B14F-4D97-AF65-F5344CB8AC3E}">
        <p14:creationId xmlns:p14="http://schemas.microsoft.com/office/powerpoint/2010/main" val="8665500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GHT PIC | Chapter with Subtitle">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2" name="Subtitle">
            <a:extLst>
              <a:ext uri="{FF2B5EF4-FFF2-40B4-BE49-F238E27FC236}">
                <a16:creationId xmlns:a16="http://schemas.microsoft.com/office/drawing/2014/main" id="{FBFAD360-FB00-BF7B-0651-3D01677A4C26}"/>
              </a:ext>
            </a:extLst>
          </p:cNvPr>
          <p:cNvSpPr>
            <a:spLocks noGrp="1"/>
          </p:cNvSpPr>
          <p:nvPr>
            <p:ph type="subTitle" idx="1" hasCustomPrompt="1"/>
          </p:nvPr>
        </p:nvSpPr>
        <p:spPr>
          <a:xfrm>
            <a:off x="4016438" y="3474452"/>
            <a:ext cx="7161083" cy="332399"/>
          </a:xfrm>
          <a:prstGeom prst="rect">
            <a:avLst/>
          </a:prstGeom>
        </p:spPr>
        <p:txBody>
          <a:bodyPr wrap="square" lIns="18000" anchor="ctr">
            <a:spAutoFit/>
          </a:bodyPr>
          <a:lstStyle>
            <a:lvl1pPr marL="0" indent="0" algn="r">
              <a:buNone/>
              <a:defRPr sz="2400" b="0" cap="none" baseline="0">
                <a:solidFill>
                  <a:srgbClr val="7F7F7F"/>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4" name="Title 14">
            <a:extLst>
              <a:ext uri="{FF2B5EF4-FFF2-40B4-BE49-F238E27FC236}">
                <a16:creationId xmlns:a16="http://schemas.microsoft.com/office/drawing/2014/main" id="{1E783DD6-079B-CAC9-60DA-AE0B78101F4B}"/>
              </a:ext>
            </a:extLst>
          </p:cNvPr>
          <p:cNvSpPr>
            <a:spLocks noGrp="1"/>
          </p:cNvSpPr>
          <p:nvPr>
            <p:ph type="title" hasCustomPrompt="1"/>
          </p:nvPr>
        </p:nvSpPr>
        <p:spPr>
          <a:xfrm>
            <a:off x="968989" y="2946509"/>
            <a:ext cx="10206466" cy="484188"/>
          </a:xfrm>
        </p:spPr>
        <p:txBody>
          <a:bodyPr/>
          <a:lstStyle>
            <a:lvl1pPr algn="r">
              <a:defRPr cap="none" baseline="0">
                <a:latin typeface="+mj-lt"/>
              </a:defRPr>
            </a:lvl1pPr>
          </a:lstStyle>
          <a:p>
            <a:r>
              <a:rPr lang="en-US" dirty="0"/>
              <a:t>Click to edit master title style</a:t>
            </a:r>
          </a:p>
        </p:txBody>
      </p:sp>
      <p:sp>
        <p:nvSpPr>
          <p:cNvPr id="5" name="Picture Placeholder 14">
            <a:extLst>
              <a:ext uri="{FF2B5EF4-FFF2-40B4-BE49-F238E27FC236}">
                <a16:creationId xmlns:a16="http://schemas.microsoft.com/office/drawing/2014/main" id="{8AC1AF42-93D0-BDA5-BCB5-66D716DA4545}"/>
              </a:ext>
            </a:extLst>
          </p:cNvPr>
          <p:cNvSpPr>
            <a:spLocks noGrp="1"/>
          </p:cNvSpPr>
          <p:nvPr>
            <p:ph type="pic" sz="quarter" idx="22" hasCustomPrompt="1"/>
          </p:nvPr>
        </p:nvSpPr>
        <p:spPr>
          <a:xfrm>
            <a:off x="11178580" y="2946816"/>
            <a:ext cx="334800" cy="957600"/>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lvl1pPr>
          </a:lstStyle>
          <a:p>
            <a:r>
              <a:rPr lang="en-US" dirty="0"/>
              <a:t>.</a:t>
            </a:r>
          </a:p>
        </p:txBody>
      </p:sp>
    </p:spTree>
    <p:extLst>
      <p:ext uri="{BB962C8B-B14F-4D97-AF65-F5344CB8AC3E}">
        <p14:creationId xmlns:p14="http://schemas.microsoft.com/office/powerpoint/2010/main" val="17098783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IGHT PIC | Chapter without Subtitle">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2" name="Picture Placeholder 14">
            <a:extLst>
              <a:ext uri="{FF2B5EF4-FFF2-40B4-BE49-F238E27FC236}">
                <a16:creationId xmlns:a16="http://schemas.microsoft.com/office/drawing/2014/main" id="{00907D42-7A85-B993-12D8-0C8FD40D08B2}"/>
              </a:ext>
            </a:extLst>
          </p:cNvPr>
          <p:cNvSpPr>
            <a:spLocks noGrp="1"/>
          </p:cNvSpPr>
          <p:nvPr>
            <p:ph type="pic" sz="quarter" idx="22" hasCustomPrompt="1"/>
          </p:nvPr>
        </p:nvSpPr>
        <p:spPr>
          <a:xfrm>
            <a:off x="11178580" y="2946817"/>
            <a:ext cx="334800" cy="957600"/>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lvl1pPr>
          </a:lstStyle>
          <a:p>
            <a:r>
              <a:rPr lang="en-US" dirty="0"/>
              <a:t>.</a:t>
            </a:r>
          </a:p>
        </p:txBody>
      </p:sp>
      <p:sp>
        <p:nvSpPr>
          <p:cNvPr id="4" name="Title 14">
            <a:extLst>
              <a:ext uri="{FF2B5EF4-FFF2-40B4-BE49-F238E27FC236}">
                <a16:creationId xmlns:a16="http://schemas.microsoft.com/office/drawing/2014/main" id="{4ABDCE33-CC25-C732-E841-037E9B835677}"/>
              </a:ext>
            </a:extLst>
          </p:cNvPr>
          <p:cNvSpPr>
            <a:spLocks noGrp="1"/>
          </p:cNvSpPr>
          <p:nvPr>
            <p:ph type="title" hasCustomPrompt="1"/>
          </p:nvPr>
        </p:nvSpPr>
        <p:spPr>
          <a:xfrm>
            <a:off x="968989" y="3183523"/>
            <a:ext cx="10206466" cy="484188"/>
          </a:xfrm>
        </p:spPr>
        <p:txBody>
          <a:bodyPr/>
          <a:lstStyle>
            <a:lvl1pPr algn="r">
              <a:defRPr cap="none" baseline="0">
                <a:latin typeface="+mj-lt"/>
              </a:defRPr>
            </a:lvl1pPr>
          </a:lstStyle>
          <a:p>
            <a:r>
              <a:rPr lang="en-US" dirty="0"/>
              <a:t>Click to edit master title style</a:t>
            </a:r>
          </a:p>
        </p:txBody>
      </p:sp>
    </p:spTree>
    <p:extLst>
      <p:ext uri="{BB962C8B-B14F-4D97-AF65-F5344CB8AC3E}">
        <p14:creationId xmlns:p14="http://schemas.microsoft.com/office/powerpoint/2010/main" val="1808935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ARK PIC | 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631387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 Bottom Accelerate Opportunity ">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FC9CD1B-6115-625C-46F8-653D2794C9FB}"/>
              </a:ext>
            </a:extLst>
          </p:cNvPr>
          <p:cNvSpPr>
            <a:spLocks noGrp="1"/>
          </p:cNvSpPr>
          <p:nvPr>
            <p:ph type="pic" sz="quarter" idx="23" hasCustomPrompt="1"/>
          </p:nvPr>
        </p:nvSpPr>
        <p:spPr>
          <a:xfrm>
            <a:off x="0" y="0"/>
            <a:ext cx="12191999"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5" name="Text Placeholder 4">
            <a:extLst>
              <a:ext uri="{FF2B5EF4-FFF2-40B4-BE49-F238E27FC236}">
                <a16:creationId xmlns:a16="http://schemas.microsoft.com/office/drawing/2014/main" id="{BA0EDD0A-7295-F557-A830-8795AD78CCCE}"/>
              </a:ext>
            </a:extLst>
          </p:cNvPr>
          <p:cNvSpPr>
            <a:spLocks noGrp="1"/>
          </p:cNvSpPr>
          <p:nvPr>
            <p:ph type="body" sz="quarter" idx="19" hasCustomPrompt="1"/>
          </p:nvPr>
        </p:nvSpPr>
        <p:spPr>
          <a:xfrm>
            <a:off x="2929245" y="4489930"/>
            <a:ext cx="6333529" cy="584775"/>
          </a:xfrm>
        </p:spPr>
        <p:txBody>
          <a:bodyPr anchor="ctr">
            <a:normAutofit/>
          </a:bodyPr>
          <a:lstStyle>
            <a:lvl1pPr marL="0" indent="0" algn="ctr">
              <a:buNone/>
              <a:defRPr sz="3200">
                <a:solidFill>
                  <a:schemeClr val="bg1"/>
                </a:solidFill>
                <a:latin typeface="+mj-lt"/>
              </a:defRPr>
            </a:lvl1pPr>
          </a:lstStyle>
          <a:p>
            <a:pPr lvl="0"/>
            <a:r>
              <a:rPr lang="en-US" dirty="0"/>
              <a:t>Example of Chapter Opening Title</a:t>
            </a:r>
          </a:p>
        </p:txBody>
      </p:sp>
      <p:sp>
        <p:nvSpPr>
          <p:cNvPr id="6" name="Text Placeholder 4">
            <a:extLst>
              <a:ext uri="{FF2B5EF4-FFF2-40B4-BE49-F238E27FC236}">
                <a16:creationId xmlns:a16="http://schemas.microsoft.com/office/drawing/2014/main" id="{CDFBF86B-8447-FD37-5C00-E0A62991D776}"/>
              </a:ext>
            </a:extLst>
          </p:cNvPr>
          <p:cNvSpPr>
            <a:spLocks noGrp="1"/>
          </p:cNvSpPr>
          <p:nvPr>
            <p:ph type="body" sz="quarter" idx="20" hasCustomPrompt="1"/>
          </p:nvPr>
        </p:nvSpPr>
        <p:spPr>
          <a:xfrm>
            <a:off x="2929245" y="5199019"/>
            <a:ext cx="6333529" cy="461665"/>
          </a:xfrm>
        </p:spPr>
        <p:txBody>
          <a:bodyPr anchor="ctr">
            <a:normAutofit/>
          </a:bodyPr>
          <a:lstStyle>
            <a:lvl1pPr marL="0" indent="0" algn="ctr">
              <a:buNone/>
              <a:defRPr sz="2400">
                <a:solidFill>
                  <a:schemeClr val="bg1"/>
                </a:solidFill>
                <a:latin typeface="+mj-lt"/>
              </a:defRPr>
            </a:lvl1pPr>
          </a:lstStyle>
          <a:p>
            <a:pPr lvl="0"/>
            <a:r>
              <a:rPr lang="en-US" dirty="0"/>
              <a:t>Subtitle Example</a:t>
            </a:r>
          </a:p>
        </p:txBody>
      </p:sp>
      <p:sp>
        <p:nvSpPr>
          <p:cNvPr id="12" name="Picture Placeholder 11">
            <a:extLst>
              <a:ext uri="{FF2B5EF4-FFF2-40B4-BE49-F238E27FC236}">
                <a16:creationId xmlns:a16="http://schemas.microsoft.com/office/drawing/2014/main" id="{511A914B-0040-3352-33B5-5B95FC7716EC}"/>
              </a:ext>
            </a:extLst>
          </p:cNvPr>
          <p:cNvSpPr>
            <a:spLocks noGrp="1"/>
          </p:cNvSpPr>
          <p:nvPr>
            <p:ph type="pic" sz="quarter" idx="21" hasCustomPrompt="1"/>
          </p:nvPr>
        </p:nvSpPr>
        <p:spPr>
          <a:xfrm>
            <a:off x="2692952" y="4418541"/>
            <a:ext cx="187201" cy="709089"/>
          </a:xfrm>
          <a:blipFill>
            <a:blip r:embed="rId9"/>
            <a:stretch>
              <a:fillRect/>
            </a:stretch>
          </a:blipFill>
        </p:spPr>
        <p:txBody>
          <a:bodyPr/>
          <a:lstStyle>
            <a:lvl1pPr marL="0" indent="0">
              <a:buNone/>
              <a:defRPr/>
            </a:lvl1pPr>
          </a:lstStyle>
          <a:p>
            <a:r>
              <a:rPr lang="en-US" dirty="0"/>
              <a:t>   </a:t>
            </a:r>
          </a:p>
        </p:txBody>
      </p:sp>
      <p:sp>
        <p:nvSpPr>
          <p:cNvPr id="14" name="Picture Placeholder 13">
            <a:extLst>
              <a:ext uri="{FF2B5EF4-FFF2-40B4-BE49-F238E27FC236}">
                <a16:creationId xmlns:a16="http://schemas.microsoft.com/office/drawing/2014/main" id="{4EEEDC4B-BC89-DA7F-0201-0A63BDC48DB0}"/>
              </a:ext>
            </a:extLst>
          </p:cNvPr>
          <p:cNvSpPr>
            <a:spLocks noGrp="1"/>
          </p:cNvSpPr>
          <p:nvPr>
            <p:ph type="pic" sz="quarter" idx="22" hasCustomPrompt="1"/>
          </p:nvPr>
        </p:nvSpPr>
        <p:spPr>
          <a:xfrm>
            <a:off x="9311829" y="4418541"/>
            <a:ext cx="187201" cy="709089"/>
          </a:xfrm>
          <a:blipFill>
            <a:blip r:embed="rId10"/>
            <a:stretch>
              <a:fillRect/>
            </a:stretch>
          </a:blipFill>
        </p:spPr>
        <p:txBody>
          <a:bodyPr/>
          <a:lstStyle>
            <a:lvl1pPr marL="0" indent="0">
              <a:buNone/>
              <a:defRPr/>
            </a:lvl1pPr>
          </a:lstStyle>
          <a:p>
            <a:r>
              <a:rPr lang="en-US" dirty="0"/>
              <a:t>    </a:t>
            </a:r>
          </a:p>
        </p:txBody>
      </p:sp>
    </p:spTree>
    <p:extLst>
      <p:ext uri="{BB962C8B-B14F-4D97-AF65-F5344CB8AC3E}">
        <p14:creationId xmlns:p14="http://schemas.microsoft.com/office/powerpoint/2010/main" val="3046213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ARK PIC | No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solidFill>
                  <a:schemeClr val="bg1"/>
                </a:solidFill>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9A3E7F30-798F-4DDA-B593-4979627BD2BD}"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6" name="Rectangle 5">
            <a:extLst>
              <a:ext uri="{FF2B5EF4-FFF2-40B4-BE49-F238E27FC236}">
                <a16:creationId xmlns:a16="http://schemas.microsoft.com/office/drawing/2014/main" id="{39D7B03B-29C0-5190-C101-6D22291B5ADF}"/>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0356365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ARK PIC | With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solidFill>
                  <a:schemeClr val="bg1"/>
                </a:solidFill>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9A3E7F30-798F-4DDA-B593-4979627BD2BD}"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12" name="Content Placeholder 11">
            <a:extLst>
              <a:ext uri="{FF2B5EF4-FFF2-40B4-BE49-F238E27FC236}">
                <a16:creationId xmlns:a16="http://schemas.microsoft.com/office/drawing/2014/main" id="{B3B93096-4DAF-0022-8072-39E9F0673177}"/>
              </a:ext>
            </a:extLst>
          </p:cNvPr>
          <p:cNvSpPr>
            <a:spLocks noGrp="1"/>
          </p:cNvSpPr>
          <p:nvPr>
            <p:ph sz="quarter" idx="15"/>
          </p:nvPr>
        </p:nvSpPr>
        <p:spPr>
          <a:xfrm>
            <a:off x="968375" y="1989138"/>
            <a:ext cx="10261600" cy="4260850"/>
          </a:xfrm>
        </p:spPr>
        <p:txBody>
          <a:bodyPr/>
          <a:lstStyle>
            <a:lvl1pPr marL="0" indent="0">
              <a:lnSpc>
                <a:spcPct val="120000"/>
              </a:lnSpc>
              <a:spcBef>
                <a:spcPts val="1000"/>
              </a:spcBef>
              <a:buNone/>
              <a:defRPr>
                <a:solidFill>
                  <a:schemeClr val="bg1"/>
                </a:solidFill>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6" name="Rectangle 5">
            <a:extLst>
              <a:ext uri="{FF2B5EF4-FFF2-40B4-BE49-F238E27FC236}">
                <a16:creationId xmlns:a16="http://schemas.microsoft.com/office/drawing/2014/main" id="{39D7B03B-29C0-5190-C101-6D22291B5ADF}"/>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chemeClr val="bg1"/>
                </a:solidFill>
              </a:rPr>
              <a:t>CONFIDENTIAL INFORMATION | This information belongs to Embraer and cannot be used or reproduced without written permission from the Company.</a:t>
            </a:r>
            <a:endParaRPr lang="en-US" sz="650" dirty="0">
              <a:solidFill>
                <a:schemeClr val="bg1"/>
              </a:solidFill>
            </a:endParaRPr>
          </a:p>
        </p:txBody>
      </p:sp>
    </p:spTree>
    <p:extLst>
      <p:ext uri="{BB962C8B-B14F-4D97-AF65-F5344CB8AC3E}">
        <p14:creationId xmlns:p14="http://schemas.microsoft.com/office/powerpoint/2010/main" val="30374099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ARK PIC | With Content + horizontal compliance tex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solidFill>
                  <a:schemeClr val="bg1"/>
                </a:solidFill>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9A3E7F30-798F-4DDA-B593-4979627BD2BD}"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12" name="Content Placeholder 11">
            <a:extLst>
              <a:ext uri="{FF2B5EF4-FFF2-40B4-BE49-F238E27FC236}">
                <a16:creationId xmlns:a16="http://schemas.microsoft.com/office/drawing/2014/main" id="{B3B93096-4DAF-0022-8072-39E9F0673177}"/>
              </a:ext>
            </a:extLst>
          </p:cNvPr>
          <p:cNvSpPr>
            <a:spLocks noGrp="1"/>
          </p:cNvSpPr>
          <p:nvPr>
            <p:ph sz="quarter" idx="15"/>
          </p:nvPr>
        </p:nvSpPr>
        <p:spPr>
          <a:xfrm>
            <a:off x="968375" y="1989138"/>
            <a:ext cx="10261600" cy="4260850"/>
          </a:xfrm>
        </p:spPr>
        <p:txBody>
          <a:bodyPr/>
          <a:lstStyle>
            <a:lvl1pPr marL="0" indent="0">
              <a:lnSpc>
                <a:spcPct val="120000"/>
              </a:lnSpc>
              <a:spcBef>
                <a:spcPts val="1000"/>
              </a:spcBef>
              <a:buNone/>
              <a:defRPr>
                <a:solidFill>
                  <a:schemeClr val="bg1"/>
                </a:solidFill>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 name="Rectangle 3">
            <a:extLst>
              <a:ext uri="{FF2B5EF4-FFF2-40B4-BE49-F238E27FC236}">
                <a16:creationId xmlns:a16="http://schemas.microsoft.com/office/drawing/2014/main" id="{05BD1290-48C7-ADA1-9585-C0BF3C985D5C}"/>
              </a:ext>
            </a:extLst>
          </p:cNvPr>
          <p:cNvSpPr/>
          <p:nvPr userDrawn="1">
            <p:custDataLst>
              <p:tags r:id="rId2"/>
            </p:custDataLst>
          </p:nvPr>
        </p:nvSpPr>
        <p:spPr>
          <a:xfrm>
            <a:off x="225927" y="6667359"/>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7849377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ARK PIC | Cover">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10886"/>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12" name="Picture Placeholder 11">
            <a:extLst>
              <a:ext uri="{FF2B5EF4-FFF2-40B4-BE49-F238E27FC236}">
                <a16:creationId xmlns:a16="http://schemas.microsoft.com/office/drawing/2014/main" id="{0482889A-DA0E-BDFC-72C1-BA0B7037430D}"/>
              </a:ext>
            </a:extLst>
          </p:cNvPr>
          <p:cNvSpPr>
            <a:spLocks noGrp="1"/>
          </p:cNvSpPr>
          <p:nvPr>
            <p:ph type="pic" sz="quarter" idx="20" hasCustomPrompt="1"/>
          </p:nvPr>
        </p:nvSpPr>
        <p:spPr>
          <a:xfrm>
            <a:off x="1151167" y="3359917"/>
            <a:ext cx="296468" cy="29642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10"/>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5" name="Date">
            <a:extLst>
              <a:ext uri="{FF2B5EF4-FFF2-40B4-BE49-F238E27FC236}">
                <a16:creationId xmlns:a16="http://schemas.microsoft.com/office/drawing/2014/main" id="{97A25473-C80A-FE1C-0569-5F00D89E86D1}"/>
              </a:ext>
            </a:extLst>
          </p:cNvPr>
          <p:cNvSpPr>
            <a:spLocks noGrp="1"/>
          </p:cNvSpPr>
          <p:nvPr>
            <p:ph type="body" sz="quarter" idx="19" hasCustomPrompt="1"/>
          </p:nvPr>
        </p:nvSpPr>
        <p:spPr>
          <a:xfrm>
            <a:off x="1593849" y="3801185"/>
            <a:ext cx="7072736" cy="440760"/>
          </a:xfrm>
          <a:prstGeom prst="rect">
            <a:avLst/>
          </a:prstGeom>
        </p:spPr>
        <p:txBody>
          <a:bodyPr vert="horz" anchor="ctr"/>
          <a:lstStyle>
            <a:lvl1pPr marL="0" indent="0">
              <a:buNone/>
              <a:defRPr sz="2400" cap="none" baseline="0">
                <a:solidFill>
                  <a:srgbClr val="FFFFFF"/>
                </a:solidFill>
                <a:latin typeface="+mj-lt"/>
                <a:cs typeface="+mj-cs"/>
              </a:defRPr>
            </a:lvl1pPr>
          </a:lstStyle>
          <a:p>
            <a:pPr lvl="0"/>
            <a:r>
              <a:rPr lang="en-US" dirty="0"/>
              <a:t>Date</a:t>
            </a:r>
          </a:p>
        </p:txBody>
      </p:sp>
      <p:sp>
        <p:nvSpPr>
          <p:cNvPr id="6" name="Title 17">
            <a:extLst>
              <a:ext uri="{FF2B5EF4-FFF2-40B4-BE49-F238E27FC236}">
                <a16:creationId xmlns:a16="http://schemas.microsoft.com/office/drawing/2014/main" id="{A6D45D73-44DF-96C7-F318-AB5E50E02986}"/>
              </a:ext>
            </a:extLst>
          </p:cNvPr>
          <p:cNvSpPr>
            <a:spLocks noGrp="1"/>
          </p:cNvSpPr>
          <p:nvPr>
            <p:ph type="title" hasCustomPrompt="1"/>
          </p:nvPr>
        </p:nvSpPr>
        <p:spPr>
          <a:xfrm>
            <a:off x="1599526" y="3268783"/>
            <a:ext cx="9179844" cy="484188"/>
          </a:xfrm>
        </p:spPr>
        <p:txBody>
          <a:bodyPr vert="horz" lIns="0" tIns="0" rIns="0" bIns="0" rtlCol="0" anchor="ctr">
            <a:normAutofit/>
          </a:bodyPr>
          <a:lstStyle>
            <a:lvl1pPr>
              <a:defRPr lang="en-US" cap="none" spc="0" baseline="0" dirty="0">
                <a:solidFill>
                  <a:schemeClr val="bg1"/>
                </a:solidFill>
                <a:latin typeface="+mj-lt"/>
                <a:ea typeface="+mn-ea"/>
              </a:defRPr>
            </a:lvl1pPr>
          </a:lstStyle>
          <a:p>
            <a:pPr marL="0" lvl="0" indent="0">
              <a:lnSpc>
                <a:spcPct val="100000"/>
              </a:lnSpc>
              <a:spcBef>
                <a:spcPts val="1152"/>
              </a:spcBef>
              <a:buFont typeface="Arial" panose="020B0604020202020204" pitchFamily="34" charset="0"/>
            </a:pPr>
            <a:r>
              <a:rPr lang="en-US" dirty="0"/>
              <a:t>Document Title</a:t>
            </a:r>
          </a:p>
        </p:txBody>
      </p:sp>
    </p:spTree>
    <p:extLst>
      <p:ext uri="{BB962C8B-B14F-4D97-AF65-F5344CB8AC3E}">
        <p14:creationId xmlns:p14="http://schemas.microsoft.com/office/powerpoint/2010/main" val="23715290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ARK PIC | Chapter with Subtitl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cap="none" baseline="0">
                <a:solidFill>
                  <a:schemeClr val="bg1"/>
                </a:solidFill>
                <a:latin typeface="+mn-lt"/>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4" name="Subtitle">
            <a:extLst>
              <a:ext uri="{FF2B5EF4-FFF2-40B4-BE49-F238E27FC236}">
                <a16:creationId xmlns:a16="http://schemas.microsoft.com/office/drawing/2014/main" id="{FD7B32DB-6349-A3D4-78D9-86D5CB6E6C94}"/>
              </a:ext>
            </a:extLst>
          </p:cNvPr>
          <p:cNvSpPr>
            <a:spLocks noGrp="1"/>
          </p:cNvSpPr>
          <p:nvPr>
            <p:ph type="subTitle" idx="1" hasCustomPrompt="1"/>
          </p:nvPr>
        </p:nvSpPr>
        <p:spPr>
          <a:xfrm>
            <a:off x="4016438" y="3483977"/>
            <a:ext cx="7161083" cy="332399"/>
          </a:xfrm>
          <a:prstGeom prst="rect">
            <a:avLst/>
          </a:prstGeom>
        </p:spPr>
        <p:txBody>
          <a:bodyPr wrap="square" lIns="18000" anchor="ctr">
            <a:spAutoFit/>
          </a:bodyPr>
          <a:lstStyle>
            <a:lvl1pPr marL="0" indent="0" algn="r">
              <a:buNone/>
              <a:defRPr sz="2400" b="0" cap="none" baseline="0">
                <a:solidFill>
                  <a:schemeClr val="bg1"/>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5" name="Title 14">
            <a:extLst>
              <a:ext uri="{FF2B5EF4-FFF2-40B4-BE49-F238E27FC236}">
                <a16:creationId xmlns:a16="http://schemas.microsoft.com/office/drawing/2014/main" id="{2B7B2B60-B3D2-7E2B-056C-AE0583769E1E}"/>
              </a:ext>
            </a:extLst>
          </p:cNvPr>
          <p:cNvSpPr>
            <a:spLocks noGrp="1"/>
          </p:cNvSpPr>
          <p:nvPr>
            <p:ph type="title" hasCustomPrompt="1"/>
          </p:nvPr>
        </p:nvSpPr>
        <p:spPr>
          <a:xfrm>
            <a:off x="968989" y="2956034"/>
            <a:ext cx="10206466" cy="484188"/>
          </a:xfrm>
        </p:spPr>
        <p:txBody>
          <a:bodyPr/>
          <a:lstStyle>
            <a:lvl1pPr algn="r">
              <a:defRPr cap="none" baseline="0">
                <a:solidFill>
                  <a:schemeClr val="bg1"/>
                </a:solidFill>
                <a:latin typeface="+mj-lt"/>
              </a:defRPr>
            </a:lvl1pPr>
          </a:lstStyle>
          <a:p>
            <a:r>
              <a:rPr lang="en-US" dirty="0"/>
              <a:t>Click to edit master title style</a:t>
            </a:r>
          </a:p>
        </p:txBody>
      </p:sp>
      <p:sp>
        <p:nvSpPr>
          <p:cNvPr id="6" name="Picture Placeholder 14">
            <a:extLst>
              <a:ext uri="{FF2B5EF4-FFF2-40B4-BE49-F238E27FC236}">
                <a16:creationId xmlns:a16="http://schemas.microsoft.com/office/drawing/2014/main" id="{BECA5D1C-D439-0BBD-E06A-C96E8E2A68EA}"/>
              </a:ext>
            </a:extLst>
          </p:cNvPr>
          <p:cNvSpPr>
            <a:spLocks noGrp="1"/>
          </p:cNvSpPr>
          <p:nvPr>
            <p:ph type="pic" sz="quarter" idx="19" hasCustomPrompt="1"/>
          </p:nvPr>
        </p:nvSpPr>
        <p:spPr>
          <a:xfrm>
            <a:off x="11178580" y="2946817"/>
            <a:ext cx="334800" cy="957600"/>
          </a:xfrm>
          <a:blipFill>
            <a:blip r:embed="rId9">
              <a:extLst>
                <a:ext uri="{96DAC541-7B7A-43D3-8B79-37D633B846F1}">
                  <asvg:svgBlip xmlns:asvg="http://schemas.microsoft.com/office/drawing/2016/SVG/main" r:embed="rId10"/>
                </a:ext>
              </a:extLst>
            </a:blip>
            <a:stretch>
              <a:fillRect/>
            </a:stretch>
          </a:blipFill>
        </p:spPr>
        <p:txBody>
          <a:bodyPr/>
          <a:lstStyle>
            <a:lvl1pPr marL="0" indent="0">
              <a:buNone/>
              <a:defRPr/>
            </a:lvl1pPr>
          </a:lstStyle>
          <a:p>
            <a:r>
              <a:rPr lang="en-US" dirty="0"/>
              <a:t>.</a:t>
            </a:r>
          </a:p>
        </p:txBody>
      </p:sp>
    </p:spTree>
    <p:extLst>
      <p:ext uri="{BB962C8B-B14F-4D97-AF65-F5344CB8AC3E}">
        <p14:creationId xmlns:p14="http://schemas.microsoft.com/office/powerpoint/2010/main" val="14055507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ARK PIC | Chapter without Subtitl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4" name="Title 14">
            <a:extLst>
              <a:ext uri="{FF2B5EF4-FFF2-40B4-BE49-F238E27FC236}">
                <a16:creationId xmlns:a16="http://schemas.microsoft.com/office/drawing/2014/main" id="{5E1C645B-816F-B39C-D2CE-2232699DE9E6}"/>
              </a:ext>
            </a:extLst>
          </p:cNvPr>
          <p:cNvSpPr>
            <a:spLocks noGrp="1"/>
          </p:cNvSpPr>
          <p:nvPr>
            <p:ph type="title" hasCustomPrompt="1"/>
          </p:nvPr>
        </p:nvSpPr>
        <p:spPr>
          <a:xfrm>
            <a:off x="968989" y="3183523"/>
            <a:ext cx="10206466" cy="484188"/>
          </a:xfrm>
        </p:spPr>
        <p:txBody>
          <a:bodyPr/>
          <a:lstStyle>
            <a:lvl1pPr algn="r">
              <a:defRPr cap="none" baseline="0">
                <a:solidFill>
                  <a:schemeClr val="bg1"/>
                </a:solidFill>
                <a:latin typeface="+mj-lt"/>
              </a:defRPr>
            </a:lvl1pPr>
          </a:lstStyle>
          <a:p>
            <a:r>
              <a:rPr lang="en-US" dirty="0"/>
              <a:t>Click to edit master title style</a:t>
            </a:r>
          </a:p>
        </p:txBody>
      </p:sp>
      <p:sp>
        <p:nvSpPr>
          <p:cNvPr id="5" name="Picture Placeholder 14">
            <a:extLst>
              <a:ext uri="{FF2B5EF4-FFF2-40B4-BE49-F238E27FC236}">
                <a16:creationId xmlns:a16="http://schemas.microsoft.com/office/drawing/2014/main" id="{B25BB4E2-4B36-F931-A92F-621123B8F177}"/>
              </a:ext>
            </a:extLst>
          </p:cNvPr>
          <p:cNvSpPr>
            <a:spLocks noGrp="1"/>
          </p:cNvSpPr>
          <p:nvPr>
            <p:ph type="pic" sz="quarter" idx="19" hasCustomPrompt="1"/>
          </p:nvPr>
        </p:nvSpPr>
        <p:spPr>
          <a:xfrm>
            <a:off x="11178580" y="2946817"/>
            <a:ext cx="334800" cy="957600"/>
          </a:xfrm>
          <a:blipFill>
            <a:blip r:embed="rId9">
              <a:extLst>
                <a:ext uri="{96DAC541-7B7A-43D3-8B79-37D633B846F1}">
                  <asvg:svgBlip xmlns:asvg="http://schemas.microsoft.com/office/drawing/2016/SVG/main" r:embed="rId10"/>
                </a:ext>
              </a:extLst>
            </a:blip>
            <a:stretch>
              <a:fillRect/>
            </a:stretch>
          </a:blipFill>
        </p:spPr>
        <p:txBody>
          <a:bodyPr/>
          <a:lstStyle>
            <a:lvl1pPr marL="0" indent="0">
              <a:buNone/>
              <a:defRPr/>
            </a:lvl1pPr>
          </a:lstStyle>
          <a:p>
            <a:r>
              <a:rPr lang="en-US" dirty="0"/>
              <a:t>.</a:t>
            </a:r>
          </a:p>
        </p:txBody>
      </p:sp>
    </p:spTree>
    <p:extLst>
      <p:ext uri="{BB962C8B-B14F-4D97-AF65-F5344CB8AC3E}">
        <p14:creationId xmlns:p14="http://schemas.microsoft.com/office/powerpoint/2010/main" val="39216206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in 2 Columns - EVEN">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994540"/>
            <a:ext cx="4770000" cy="4255448"/>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7ACC6C6-7E42-4FBC-9FB7-40439FDA282A}"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p:nvPr>
        </p:nvSpPr>
        <p:spPr>
          <a:xfrm>
            <a:off x="6456362" y="1994540"/>
            <a:ext cx="4770000" cy="4255448"/>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Tree>
    <p:extLst>
      <p:ext uri="{BB962C8B-B14F-4D97-AF65-F5344CB8AC3E}">
        <p14:creationId xmlns:p14="http://schemas.microsoft.com/office/powerpoint/2010/main" val="1253057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in 2 Columns - UNEVEN">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1989138"/>
            <a:ext cx="3687762" cy="4260850"/>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CBFF87BB-F543-4CA8-B3AE-1B8D0E782AF6}"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p:nvPr>
        </p:nvSpPr>
        <p:spPr>
          <a:xfrm>
            <a:off x="5375275" y="1989138"/>
            <a:ext cx="5854700" cy="4260850"/>
          </a:xfrm>
        </p:spPr>
        <p:txBody>
          <a:bodyPr/>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Tree>
    <p:extLst>
      <p:ext uri="{BB962C8B-B14F-4D97-AF65-F5344CB8AC3E}">
        <p14:creationId xmlns:p14="http://schemas.microsoft.com/office/powerpoint/2010/main" val="4750033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ORMAL Headline + WIDE Sky Left - LIGHT">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6120041" y="1989138"/>
            <a:ext cx="5088745" cy="4259389"/>
          </a:xfrm>
        </p:spPr>
        <p:txBody>
          <a:bodyPr tIns="3600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65E63131-822F-4357-970F-7CDF9E9ACEA6}"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0" y="2351163"/>
            <a:ext cx="5375276" cy="359520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6" name="Picture Placeholder 8">
            <a:extLst>
              <a:ext uri="{FF2B5EF4-FFF2-40B4-BE49-F238E27FC236}">
                <a16:creationId xmlns:a16="http://schemas.microsoft.com/office/drawing/2014/main" id="{01C7C955-7828-8AF1-DDAE-C17CAF90F136}"/>
              </a:ext>
            </a:extLst>
          </p:cNvPr>
          <p:cNvSpPr>
            <a:spLocks noGrp="1"/>
          </p:cNvSpPr>
          <p:nvPr>
            <p:ph type="pic" sz="quarter" idx="24" hasCustomPrompt="1"/>
          </p:nvPr>
        </p:nvSpPr>
        <p:spPr>
          <a:xfrm>
            <a:off x="492369" y="2003425"/>
            <a:ext cx="5579592" cy="4270128"/>
          </a:xfrm>
          <a:noFill/>
        </p:spPr>
        <p:txBody>
          <a:bodyPr/>
          <a:lstStyle>
            <a:lvl1pPr marL="0" indent="0">
              <a:lnSpc>
                <a:spcPct val="120000"/>
              </a:lnSpc>
              <a:buNone/>
              <a:defRPr>
                <a:latin typeface="+mn-lt"/>
              </a:defRPr>
            </a:lvl1pPr>
          </a:lstStyle>
          <a:p>
            <a:r>
              <a:rPr lang="en-US" dirty="0"/>
              <a:t>Add aircraft picture</a:t>
            </a:r>
          </a:p>
        </p:txBody>
      </p:sp>
      <p:sp>
        <p:nvSpPr>
          <p:cNvPr id="10" name="Confidential Horizontal">
            <a:extLst>
              <a:ext uri="{FF2B5EF4-FFF2-40B4-BE49-F238E27FC236}">
                <a16:creationId xmlns:a16="http://schemas.microsoft.com/office/drawing/2014/main" id="{980D488E-365F-7A42-0C65-5E7AC598769A}"/>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MIO_CONVERT_SLIDES_SUBTITLE">
            <a:extLst>
              <a:ext uri="{FF2B5EF4-FFF2-40B4-BE49-F238E27FC236}">
                <a16:creationId xmlns:a16="http://schemas.microsoft.com/office/drawing/2014/main" id="{8427AE27-E26A-BF88-0240-BE7D1B3BD21A}"/>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11" name="Title 1">
            <a:extLst>
              <a:ext uri="{FF2B5EF4-FFF2-40B4-BE49-F238E27FC236}">
                <a16:creationId xmlns:a16="http://schemas.microsoft.com/office/drawing/2014/main" id="{2673B9FA-E561-BE9B-EB7E-64E9F09FD301}"/>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2" name="Logo Placeholder 30">
            <a:extLst>
              <a:ext uri="{FF2B5EF4-FFF2-40B4-BE49-F238E27FC236}">
                <a16:creationId xmlns:a16="http://schemas.microsoft.com/office/drawing/2014/main" id="{3A69C611-31B5-6FFA-3258-36DDB9197E29}"/>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5" name="Business Unit Placeholder 28">
            <a:extLst>
              <a:ext uri="{FF2B5EF4-FFF2-40B4-BE49-F238E27FC236}">
                <a16:creationId xmlns:a16="http://schemas.microsoft.com/office/drawing/2014/main" id="{F4FDA1CA-E54F-DE2E-52EC-34E91FB2DDE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6758457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Headline + WIDE Sky Righ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543819"/>
            <a:ext cx="3687146" cy="276999"/>
          </a:xfrm>
          <a:prstGeom prst="rect">
            <a:avLst/>
          </a:prstGeom>
        </p:spPr>
        <p:txBody>
          <a:bodyPr wrap="square" lIns="18000">
            <a:spAutoFit/>
          </a:bodyPr>
          <a:lstStyle>
            <a:lvl1pPr marL="0" indent="0" algn="l">
              <a:buNone/>
              <a:defRPr sz="20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313976"/>
            <a:ext cx="3687146" cy="1215864"/>
          </a:xfrm>
        </p:spPr>
        <p:txBody>
          <a:bodyPr anchor="t"/>
          <a:lstStyle>
            <a:lvl1pPr>
              <a:defRPr sz="2800">
                <a:latin typeface="+mj-lt"/>
              </a:defRPr>
            </a:lvl1pPr>
          </a:lstStyle>
          <a:p>
            <a:r>
              <a:rPr lang="en-US" dirty="0"/>
              <a:t>small headline</a:t>
            </a:r>
            <a:br>
              <a:rPr lang="en-US" dirty="0"/>
            </a:br>
            <a:r>
              <a:rPr lang="en-US" dirty="0"/>
              <a:t>with up to  three</a:t>
            </a:r>
            <a:br>
              <a:rPr lang="en-US" dirty="0"/>
            </a:br>
            <a:r>
              <a:rPr lang="en-US" dirty="0"/>
              <a:t>lines of text</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967193"/>
            <a:ext cx="3687762" cy="328279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65E63131-822F-4357-970F-7CDF9E9ACEA6}"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952625"/>
            <a:ext cx="6096001" cy="3942948"/>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E8A542C-FF3F-FDAE-9305-DF6F93D5666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Picture Placeholder 8">
            <a:extLst>
              <a:ext uri="{FF2B5EF4-FFF2-40B4-BE49-F238E27FC236}">
                <a16:creationId xmlns:a16="http://schemas.microsoft.com/office/drawing/2014/main" id="{01C7C955-7828-8AF1-DDAE-C17CAF90F136}"/>
              </a:ext>
            </a:extLst>
          </p:cNvPr>
          <p:cNvSpPr>
            <a:spLocks noGrp="1"/>
          </p:cNvSpPr>
          <p:nvPr>
            <p:ph type="pic" sz="quarter" idx="24" hasCustomPrompt="1"/>
          </p:nvPr>
        </p:nvSpPr>
        <p:spPr>
          <a:xfrm>
            <a:off x="4292600" y="755888"/>
            <a:ext cx="7894779" cy="3372109"/>
          </a:xfrm>
          <a:noFill/>
        </p:spPr>
        <p:txBody>
          <a:bodyPr/>
          <a:lstStyle>
            <a:lvl1pPr marL="0" indent="0">
              <a:lnSpc>
                <a:spcPct val="120000"/>
              </a:lnSpc>
              <a:buNone/>
              <a:defRPr>
                <a:latin typeface="+mn-lt"/>
              </a:defRPr>
            </a:lvl1pPr>
          </a:lstStyle>
          <a:p>
            <a:r>
              <a:rPr lang="en-US" dirty="0"/>
              <a:t>Add aircraft picture</a:t>
            </a:r>
          </a:p>
        </p:txBody>
      </p:sp>
      <p:sp>
        <p:nvSpPr>
          <p:cNvPr id="10" name="Confidential Horizontal">
            <a:extLst>
              <a:ext uri="{FF2B5EF4-FFF2-40B4-BE49-F238E27FC236}">
                <a16:creationId xmlns:a16="http://schemas.microsoft.com/office/drawing/2014/main" id="{980D488E-365F-7A42-0C65-5E7AC598769A}"/>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rgbClr val="767171"/>
                </a:solidFill>
              </a:rPr>
              <a:t>CONFIDENTIAL INFORMATION | This information belongs to Embraer and cannot be used or reproduced without written permission from the Company.</a:t>
            </a:r>
          </a:p>
        </p:txBody>
      </p:sp>
      <p:sp>
        <p:nvSpPr>
          <p:cNvPr id="8" name="Logo Placeholder 30">
            <a:extLst>
              <a:ext uri="{FF2B5EF4-FFF2-40B4-BE49-F238E27FC236}">
                <a16:creationId xmlns:a16="http://schemas.microsoft.com/office/drawing/2014/main" id="{9DAC8437-BCDA-6B58-A417-38667263A94C}"/>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1" name="Business Unit Placeholder 28">
            <a:extLst>
              <a:ext uri="{FF2B5EF4-FFF2-40B4-BE49-F238E27FC236}">
                <a16:creationId xmlns:a16="http://schemas.microsoft.com/office/drawing/2014/main" id="{A4EA3B95-5DC0-C773-D60E-071C49AFD800}"/>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335034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 Middle Accelerate Opportunity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31" name="Picture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Picture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Date Placeholder 8">
            <a:extLst>
              <a:ext uri="{FF2B5EF4-FFF2-40B4-BE49-F238E27FC236}">
                <a16:creationId xmlns:a16="http://schemas.microsoft.com/office/drawing/2014/main" id="{97FE4D0F-C1AD-27A0-DBFC-A2580B5AF345}"/>
              </a:ext>
            </a:extLst>
          </p:cNvPr>
          <p:cNvSpPr>
            <a:spLocks noGrp="1"/>
          </p:cNvSpPr>
          <p:nvPr>
            <p:ph type="dt" sz="half" idx="12"/>
          </p:nvPr>
        </p:nvSpPr>
        <p:spPr/>
        <p:txBody>
          <a:bodyPr/>
          <a:lstStyle/>
          <a:p>
            <a:fld id="{63C217E5-FBC7-4403-A8E1-3FEBF37ED54A}" type="datetime1">
              <a:rPr lang="en-US"/>
              <a:t>11/16/2024</a:t>
            </a:fld>
            <a:endParaRPr lang="en-US" dirty="0"/>
          </a:p>
        </p:txBody>
      </p:sp>
      <p:sp>
        <p:nvSpPr>
          <p:cNvPr id="10" name="Footer Placeholder 9">
            <a:extLst>
              <a:ext uri="{FF2B5EF4-FFF2-40B4-BE49-F238E27FC236}">
                <a16:creationId xmlns:a16="http://schemas.microsoft.com/office/drawing/2014/main" id="{189AE2D2-4894-306E-4530-06F07DD338F5}"/>
              </a:ext>
            </a:extLst>
          </p:cNvPr>
          <p:cNvSpPr>
            <a:spLocks noGrp="1"/>
          </p:cNvSpPr>
          <p:nvPr>
            <p:ph type="ftr" sz="quarter" idx="13"/>
          </p:nvPr>
        </p:nvSpPr>
        <p:spPr/>
        <p:txBody>
          <a:bodyPr/>
          <a:lstStyle/>
          <a:p>
            <a:endParaRPr lang="en-US" dirty="0"/>
          </a:p>
        </p:txBody>
      </p:sp>
      <p:sp>
        <p:nvSpPr>
          <p:cNvPr id="11" name="Slide Number Placeholder 10">
            <a:extLst>
              <a:ext uri="{FF2B5EF4-FFF2-40B4-BE49-F238E27FC236}">
                <a16:creationId xmlns:a16="http://schemas.microsoft.com/office/drawing/2014/main" id="{F7A07375-9752-27E9-2074-56E4BA7299AC}"/>
              </a:ext>
            </a:extLst>
          </p:cNvPr>
          <p:cNvSpPr>
            <a:spLocks noGrp="1"/>
          </p:cNvSpPr>
          <p:nvPr>
            <p:ph type="sldNum" sz="quarter" idx="14"/>
          </p:nvPr>
        </p:nvSpPr>
        <p:spPr/>
        <p:txBody>
          <a:bodyPr/>
          <a:lstStyle/>
          <a:p>
            <a:fld id="{BC856695-CDCE-4C54-BCD0-9C2D042065C7}" type="slidenum">
              <a:rPr lang="en-US"/>
              <a:pPr/>
              <a:t>‹#›</a:t>
            </a:fld>
            <a:endParaRPr lang="en-US" dirty="0"/>
          </a:p>
        </p:txBody>
      </p:sp>
      <p:sp>
        <p:nvSpPr>
          <p:cNvPr id="2" name="Rectangle 1">
            <a:extLst>
              <a:ext uri="{FF2B5EF4-FFF2-40B4-BE49-F238E27FC236}">
                <a16:creationId xmlns:a16="http://schemas.microsoft.com/office/drawing/2014/main" id="{06FBCAED-7F55-5950-99B8-E38E84CF2AC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
        <p:nvSpPr>
          <p:cNvPr id="4" name="Text Placeholder 4">
            <a:extLst>
              <a:ext uri="{FF2B5EF4-FFF2-40B4-BE49-F238E27FC236}">
                <a16:creationId xmlns:a16="http://schemas.microsoft.com/office/drawing/2014/main" id="{8A0C5001-A7AB-465A-2F83-5A473ED52F40}"/>
              </a:ext>
            </a:extLst>
          </p:cNvPr>
          <p:cNvSpPr>
            <a:spLocks noGrp="1"/>
          </p:cNvSpPr>
          <p:nvPr>
            <p:ph type="body" sz="quarter" idx="19" hasCustomPrompt="1"/>
          </p:nvPr>
        </p:nvSpPr>
        <p:spPr>
          <a:xfrm>
            <a:off x="2929245" y="3154107"/>
            <a:ext cx="6333529" cy="584775"/>
          </a:xfrm>
        </p:spPr>
        <p:txBody>
          <a:bodyPr anchor="ctr">
            <a:normAutofit/>
          </a:bodyPr>
          <a:lstStyle>
            <a:lvl1pPr marL="0" indent="0" algn="ctr">
              <a:buNone/>
              <a:defRPr sz="3200">
                <a:solidFill>
                  <a:schemeClr val="bg1"/>
                </a:solidFill>
                <a:latin typeface="+mj-lt"/>
              </a:defRPr>
            </a:lvl1pPr>
          </a:lstStyle>
          <a:p>
            <a:pPr lvl="0"/>
            <a:r>
              <a:rPr lang="en-US" dirty="0"/>
              <a:t>Example of Chapter Opening Title</a:t>
            </a:r>
          </a:p>
        </p:txBody>
      </p:sp>
      <p:sp>
        <p:nvSpPr>
          <p:cNvPr id="5" name="Text Placeholder 4">
            <a:extLst>
              <a:ext uri="{FF2B5EF4-FFF2-40B4-BE49-F238E27FC236}">
                <a16:creationId xmlns:a16="http://schemas.microsoft.com/office/drawing/2014/main" id="{56970AAF-DEBA-A510-82E6-5CFD893090CE}"/>
              </a:ext>
            </a:extLst>
          </p:cNvPr>
          <p:cNvSpPr>
            <a:spLocks noGrp="1"/>
          </p:cNvSpPr>
          <p:nvPr>
            <p:ph type="body" sz="quarter" idx="20" hasCustomPrompt="1"/>
          </p:nvPr>
        </p:nvSpPr>
        <p:spPr>
          <a:xfrm>
            <a:off x="2880153" y="3863198"/>
            <a:ext cx="6382621" cy="461665"/>
          </a:xfrm>
        </p:spPr>
        <p:txBody>
          <a:bodyPr anchor="ctr">
            <a:normAutofit/>
          </a:bodyPr>
          <a:lstStyle>
            <a:lvl1pPr marL="0" indent="0" algn="ctr">
              <a:buNone/>
              <a:defRPr sz="2400">
                <a:solidFill>
                  <a:schemeClr val="bg1"/>
                </a:solidFill>
                <a:latin typeface="+mj-lt"/>
              </a:defRPr>
            </a:lvl1pPr>
          </a:lstStyle>
          <a:p>
            <a:pPr lvl="0"/>
            <a:r>
              <a:rPr lang="en-US" dirty="0"/>
              <a:t>Subtitle Example</a:t>
            </a:r>
          </a:p>
        </p:txBody>
      </p:sp>
      <p:sp>
        <p:nvSpPr>
          <p:cNvPr id="6" name="Picture Placeholder 11">
            <a:extLst>
              <a:ext uri="{FF2B5EF4-FFF2-40B4-BE49-F238E27FC236}">
                <a16:creationId xmlns:a16="http://schemas.microsoft.com/office/drawing/2014/main" id="{B81C852D-B181-2846-F3C8-28A9A6AC8475}"/>
              </a:ext>
            </a:extLst>
          </p:cNvPr>
          <p:cNvSpPr>
            <a:spLocks noGrp="1"/>
          </p:cNvSpPr>
          <p:nvPr>
            <p:ph type="pic" sz="quarter" idx="21" hasCustomPrompt="1"/>
          </p:nvPr>
        </p:nvSpPr>
        <p:spPr>
          <a:xfrm>
            <a:off x="2692952" y="3082718"/>
            <a:ext cx="187201" cy="709089"/>
          </a:xfrm>
          <a:blipFill>
            <a:blip r:embed="rId9"/>
            <a:stretch>
              <a:fillRect/>
            </a:stretch>
          </a:blipFill>
        </p:spPr>
        <p:txBody>
          <a:bodyPr/>
          <a:lstStyle>
            <a:lvl1pPr marL="0" indent="0">
              <a:buNone/>
              <a:defRPr/>
            </a:lvl1pPr>
          </a:lstStyle>
          <a:p>
            <a:r>
              <a:rPr lang="en-US" dirty="0"/>
              <a:t>   </a:t>
            </a:r>
          </a:p>
        </p:txBody>
      </p:sp>
      <p:sp>
        <p:nvSpPr>
          <p:cNvPr id="8" name="Picture Placeholder 13">
            <a:extLst>
              <a:ext uri="{FF2B5EF4-FFF2-40B4-BE49-F238E27FC236}">
                <a16:creationId xmlns:a16="http://schemas.microsoft.com/office/drawing/2014/main" id="{63A28F58-72CF-8C19-7021-B1B41F0AF5CC}"/>
              </a:ext>
            </a:extLst>
          </p:cNvPr>
          <p:cNvSpPr>
            <a:spLocks noGrp="1"/>
          </p:cNvSpPr>
          <p:nvPr>
            <p:ph type="pic" sz="quarter" idx="22" hasCustomPrompt="1"/>
          </p:nvPr>
        </p:nvSpPr>
        <p:spPr>
          <a:xfrm>
            <a:off x="9311829" y="3082718"/>
            <a:ext cx="187201" cy="709089"/>
          </a:xfrm>
          <a:blipFill>
            <a:blip r:embed="rId10"/>
            <a:stretch>
              <a:fillRect/>
            </a:stretch>
          </a:blipFill>
        </p:spPr>
        <p:txBody>
          <a:bodyPr/>
          <a:lstStyle>
            <a:lvl1pPr marL="0" indent="0">
              <a:buNone/>
              <a:defRPr/>
            </a:lvl1pPr>
          </a:lstStyle>
          <a:p>
            <a:r>
              <a:rPr lang="en-US" dirty="0"/>
              <a:t>    </a:t>
            </a:r>
          </a:p>
        </p:txBody>
      </p:sp>
    </p:spTree>
    <p:extLst>
      <p:ext uri="{BB962C8B-B14F-4D97-AF65-F5344CB8AC3E}">
        <p14:creationId xmlns:p14="http://schemas.microsoft.com/office/powerpoint/2010/main" val="8340467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543819"/>
            <a:ext cx="3687146" cy="276999"/>
          </a:xfrm>
          <a:prstGeom prst="rect">
            <a:avLst/>
          </a:prstGeom>
        </p:spPr>
        <p:txBody>
          <a:bodyPr wrap="square" lIns="18000">
            <a:spAutoFit/>
          </a:bodyPr>
          <a:lstStyle>
            <a:lvl1pPr marL="0" indent="0" algn="l">
              <a:buNone/>
              <a:defRPr sz="20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313976"/>
            <a:ext cx="3687146" cy="1215864"/>
          </a:xfrm>
        </p:spPr>
        <p:txBody>
          <a:bodyPr anchor="t"/>
          <a:lstStyle>
            <a:lvl1pPr>
              <a:defRPr sz="2800">
                <a:latin typeface="+mj-lt"/>
              </a:defRPr>
            </a:lvl1pPr>
          </a:lstStyle>
          <a:p>
            <a:r>
              <a:rPr lang="en-US" dirty="0"/>
              <a:t>small headline</a:t>
            </a:r>
            <a:br>
              <a:rPr lang="en-US" dirty="0"/>
            </a:br>
            <a:r>
              <a:rPr lang="en-US" dirty="0"/>
              <a:t>with up to three</a:t>
            </a:r>
            <a:br>
              <a:rPr lang="en-US" dirty="0"/>
            </a:br>
            <a:r>
              <a:rPr lang="en-US" dirty="0"/>
              <a:t>lines of text</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967193"/>
            <a:ext cx="3687762" cy="328279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F7186D1-F753-4FB0-A6DC-125DDC880628}"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313976"/>
            <a:ext cx="5133975" cy="4936013"/>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E8A542C-FF3F-FDAE-9305-DF6F93D5666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5A9A636D-8A4C-0086-24DD-5E4F73E1679D}"/>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F6CD4130-AC54-2FF4-A4E4-F980BBA4ADB4}"/>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059641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LL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543819"/>
            <a:ext cx="3687146" cy="276999"/>
          </a:xfrm>
          <a:prstGeom prst="rect">
            <a:avLst/>
          </a:prstGeom>
        </p:spPr>
        <p:txBody>
          <a:bodyPr wrap="square" lIns="18000">
            <a:spAutoFit/>
          </a:bodyPr>
          <a:lstStyle>
            <a:lvl1pPr marL="0" indent="0" algn="l">
              <a:buNone/>
              <a:defRPr sz="20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313976"/>
            <a:ext cx="3687146" cy="1215864"/>
          </a:xfrm>
        </p:spPr>
        <p:txBody>
          <a:bodyPr anchor="t"/>
          <a:lstStyle>
            <a:lvl1pPr>
              <a:defRPr sz="2800">
                <a:latin typeface="+mj-lt"/>
              </a:defRPr>
            </a:lvl1pPr>
          </a:lstStyle>
          <a:p>
            <a:r>
              <a:rPr lang="en-US" dirty="0"/>
              <a:t>small headline </a:t>
            </a:r>
            <a:br>
              <a:rPr lang="en-US" dirty="0"/>
            </a:br>
            <a:r>
              <a:rPr lang="en-US" dirty="0"/>
              <a:t>with up to three</a:t>
            </a:r>
            <a:br>
              <a:rPr lang="en-US" dirty="0"/>
            </a:br>
            <a:r>
              <a:rPr lang="en-US" dirty="0"/>
              <a:t>lines of text</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967193"/>
            <a:ext cx="3687762" cy="328279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31F5963-2D57-4612-A8CE-6240E37AB49B}"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8"/>
            <a:ext cx="5854700" cy="5499101"/>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E8A542C-FF3F-FDAE-9305-DF6F93D5666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DA33341A-41F4-F759-1436-66014890638D}"/>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608F252F-B466-12EC-CB7D-C5505DB4598B}"/>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4804337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ORMAL 2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1684825"/>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6"/>
            <a:ext cx="3687146" cy="876498"/>
          </a:xfrm>
        </p:spPr>
        <p:txBody>
          <a:bodyPr anchor="t"/>
          <a:lstStyle>
            <a:lvl1pPr>
              <a:defRPr>
                <a:latin typeface="+mj-lt"/>
              </a:defRPr>
            </a:lvl1pPr>
          </a:lstStyle>
          <a:p>
            <a:r>
              <a:rPr lang="en-US" dirty="0"/>
              <a:t>NORMAL </a:t>
            </a:r>
            <a:br>
              <a:rPr lang="en-US" dirty="0"/>
            </a:br>
            <a:r>
              <a:rPr lang="en-US" dirty="0"/>
              <a:t>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108198"/>
            <a:ext cx="3687762" cy="4141791"/>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55FDDBAB-786B-459A-AE17-081705A3EF99}"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8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5CFC720C-9A1D-2CB4-7423-AF96DF4E2FCA}"/>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DE0D4596-21FC-3E3C-0F5D-972B3DDCB0BB}"/>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5ED4A020-CD28-0088-4744-B3BC9F62353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147871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ORMAL 2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1684825"/>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6"/>
            <a:ext cx="3687146" cy="876498"/>
          </a:xfrm>
        </p:spPr>
        <p:txBody>
          <a:bodyPr anchor="t"/>
          <a:lstStyle>
            <a:lvl1pPr>
              <a:defRPr>
                <a:latin typeface="+mj-lt"/>
              </a:defRPr>
            </a:lvl1pPr>
          </a:lstStyle>
          <a:p>
            <a:r>
              <a:rPr lang="en-US" dirty="0"/>
              <a:t>NORMAL </a:t>
            </a:r>
            <a:br>
              <a:rPr lang="en-US" dirty="0"/>
            </a:br>
            <a:r>
              <a:rPr lang="en-US" dirty="0"/>
              <a:t>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108198"/>
            <a:ext cx="3687762" cy="4141791"/>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22E306B-0626-4088-A1DD-7E813F49AC61}"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5CFC720C-9A1D-2CB4-7423-AF96DF4E2FCA}"/>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7AFF4B6B-212A-7C05-85AF-C298922686B4}"/>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7D4B60A5-9620-2526-7F18-85B3540A2AE5}"/>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5582777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RMAL 2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1684825"/>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6"/>
            <a:ext cx="3687146" cy="876498"/>
          </a:xfrm>
        </p:spPr>
        <p:txBody>
          <a:bodyPr anchor="t"/>
          <a:lstStyle>
            <a:lvl1pPr>
              <a:defRPr>
                <a:latin typeface="+mj-lt"/>
              </a:defRPr>
            </a:lvl1pPr>
          </a:lstStyle>
          <a:p>
            <a:r>
              <a:rPr lang="en-US" dirty="0"/>
              <a:t>NORMAL </a:t>
            </a:r>
            <a:br>
              <a:rPr lang="en-US" dirty="0"/>
            </a:br>
            <a:r>
              <a:rPr lang="en-US" dirty="0"/>
              <a:t>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108198"/>
            <a:ext cx="3687762" cy="4141791"/>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91B45DE8-41C2-4BBE-B980-465FD3B40C18}"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4" y="0"/>
            <a:ext cx="6816725" cy="685799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5CFC720C-9A1D-2CB4-7423-AF96DF4E2FCA}"/>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969F4C38-E693-5E3D-BA5B-61DB5BA2F75B}"/>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ogo Placeholder 30">
            <a:extLst>
              <a:ext uri="{FF2B5EF4-FFF2-40B4-BE49-F238E27FC236}">
                <a16:creationId xmlns:a16="http://schemas.microsoft.com/office/drawing/2014/main" id="{E3CEF61A-DA09-565D-DF25-3E4B1383DE55}"/>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BDE792B0-C099-256E-DD30-337434841213}"/>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5697447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ORMAL 3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127581"/>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266694"/>
          </a:xfrm>
        </p:spPr>
        <p:txBody>
          <a:bodyPr anchor="t"/>
          <a:lstStyle>
            <a:lvl1pPr>
              <a:defRPr>
                <a:latin typeface="+mj-lt"/>
              </a:defRPr>
            </a:lvl1pPr>
          </a:lstStyle>
          <a:p>
            <a:r>
              <a:rPr lang="en-US" dirty="0"/>
              <a:t>NORMAL headline with up to </a:t>
            </a:r>
            <a:br>
              <a:rPr lang="en-US" dirty="0"/>
            </a:br>
            <a:r>
              <a:rPr lang="en-US" dirty="0"/>
              <a:t>three lines</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550954"/>
            <a:ext cx="3687762" cy="369903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5B5289F6-556C-4AA4-B84F-9211D9403A7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8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8C4F9090-20D1-5E3C-E925-F915BF43B7A0}"/>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9FF0C1D2-C5DF-558C-CD47-C11E04A978EC}"/>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2A92B202-BB2F-7260-4E72-F7CDE5F22500}"/>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92525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ORMAL 3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127581"/>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266694"/>
          </a:xfrm>
        </p:spPr>
        <p:txBody>
          <a:bodyPr anchor="t"/>
          <a:lstStyle>
            <a:lvl1pPr>
              <a:defRPr>
                <a:latin typeface="+mj-lt"/>
              </a:defRPr>
            </a:lvl1pPr>
          </a:lstStyle>
          <a:p>
            <a:r>
              <a:rPr lang="en-US" dirty="0"/>
              <a:t>NORMAL headline with up to </a:t>
            </a:r>
            <a:br>
              <a:rPr lang="en-US" dirty="0"/>
            </a:br>
            <a:r>
              <a:rPr lang="en-US" dirty="0"/>
              <a:t>three lines</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550954"/>
            <a:ext cx="3687762" cy="369903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47A1B9ED-DFAD-426C-A8DE-4EA44D7FC3DF}"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8C4F9090-20D1-5E3C-E925-F915BF43B7A0}"/>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85EB1624-C63C-68F7-7ACE-E89102FE406B}"/>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B97C435F-47F7-25F5-E587-C62A3A5156C2}"/>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6158760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ORMAL 3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127581"/>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266694"/>
          </a:xfrm>
        </p:spPr>
        <p:txBody>
          <a:bodyPr anchor="t"/>
          <a:lstStyle>
            <a:lvl1pPr>
              <a:defRPr>
                <a:latin typeface="+mj-lt"/>
              </a:defRPr>
            </a:lvl1pPr>
          </a:lstStyle>
          <a:p>
            <a:r>
              <a:rPr lang="en-US" dirty="0"/>
              <a:t>NORMAL headline with up to </a:t>
            </a:r>
            <a:br>
              <a:rPr lang="en-US" dirty="0"/>
            </a:br>
            <a:r>
              <a:rPr lang="en-US" dirty="0"/>
              <a:t>three lines</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550954"/>
            <a:ext cx="3687762" cy="369903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5075265-FC3A-45F2-87FB-BA913AE19D28}"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4" y="-3318"/>
            <a:ext cx="6816725" cy="685799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8C4F9090-20D1-5E3C-E925-F915BF43B7A0}"/>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BE7646E6-0BB7-5E63-F3A1-5B89F0AE62F8}"/>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ogo Placeholder 30">
            <a:extLst>
              <a:ext uri="{FF2B5EF4-FFF2-40B4-BE49-F238E27FC236}">
                <a16:creationId xmlns:a16="http://schemas.microsoft.com/office/drawing/2014/main" id="{73DB256B-9B37-2EA2-957F-CAE2A1D50405}"/>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F50142D1-A821-0274-FEFB-33101CBC07A9}"/>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6303331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RGE 2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400"/>
            <a:ext cx="3687146" cy="992186"/>
          </a:xfrm>
        </p:spPr>
        <p:txBody>
          <a:bodyPr anchor="t"/>
          <a:lstStyle>
            <a:lvl1pPr>
              <a:lnSpc>
                <a:spcPct val="80000"/>
              </a:lnSpc>
              <a:defRPr sz="4400">
                <a:latin typeface="+mj-lt"/>
              </a:defRPr>
            </a:lvl1pPr>
          </a:lstStyle>
          <a:p>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14640"/>
            <a:ext cx="3687762" cy="3435349"/>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663961B1-1F17-4F05-ABF8-578DF4466815}"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8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3255A3BF-CA8B-08A1-698B-63FAD2F19AD7}"/>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A692FAE2-949B-912A-59D0-AE22BFE7ADAD}"/>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D3D66847-C671-F844-E4A4-6F0E776E7445}"/>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4816003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RGE 2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400"/>
            <a:ext cx="3687146" cy="992186"/>
          </a:xfrm>
        </p:spPr>
        <p:txBody>
          <a:bodyPr anchor="t"/>
          <a:lstStyle>
            <a:lvl1pPr>
              <a:lnSpc>
                <a:spcPct val="80000"/>
              </a:lnSpc>
              <a:defRPr sz="4400">
                <a:latin typeface="+mj-lt"/>
              </a:defRPr>
            </a:lvl1pPr>
          </a:lstStyle>
          <a:p>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14640"/>
            <a:ext cx="3687762" cy="3435349"/>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D51B836D-C075-4186-AD6F-3CC587A9C09D}"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3255A3BF-CA8B-08A1-698B-63FAD2F19AD7}"/>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F83A6883-810C-B2BA-CF48-A7A64856F991}"/>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B5D08833-F7A4-6D9B-56A9-567D6FCC2518}"/>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5270077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 Accelerate Opportunity ">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Picture Placeholder 3">
            <a:extLst>
              <a:ext uri="{FF2B5EF4-FFF2-40B4-BE49-F238E27FC236}">
                <a16:creationId xmlns:a16="http://schemas.microsoft.com/office/drawing/2014/main" id="{16F02F65-1575-BB1A-5B91-B80808276F42}"/>
              </a:ext>
            </a:extLst>
          </p:cNvPr>
          <p:cNvSpPr>
            <a:spLocks noGrp="1"/>
          </p:cNvSpPr>
          <p:nvPr>
            <p:ph type="pic" sz="quarter" idx="22" hasCustomPrompt="1"/>
          </p:nvPr>
        </p:nvSpPr>
        <p:spPr>
          <a:xfrm>
            <a:off x="0" y="0"/>
            <a:ext cx="12191999" cy="6858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a:lvl1pPr>
          </a:lstStyle>
          <a:p>
            <a:r>
              <a:rPr lang="en-US" dirty="0"/>
              <a:t>   </a:t>
            </a:r>
          </a:p>
        </p:txBody>
      </p:sp>
      <p:sp>
        <p:nvSpPr>
          <p:cNvPr id="2" name="Picture Placeholder 17">
            <a:extLst>
              <a:ext uri="{FF2B5EF4-FFF2-40B4-BE49-F238E27FC236}">
                <a16:creationId xmlns:a16="http://schemas.microsoft.com/office/drawing/2014/main" id="{F71B4B07-67E5-44B1-E49F-B53B5AD49178}"/>
              </a:ext>
            </a:extLst>
          </p:cNvPr>
          <p:cNvSpPr>
            <a:spLocks noGrp="1"/>
          </p:cNvSpPr>
          <p:nvPr>
            <p:ph type="pic" sz="quarter" idx="28" hasCustomPrompt="1"/>
          </p:nvPr>
        </p:nvSpPr>
        <p:spPr>
          <a:xfrm>
            <a:off x="5134994" y="3267720"/>
            <a:ext cx="1920000" cy="322560"/>
          </a:xfrm>
          <a:blipFill>
            <a:blip r:embed="rId5"/>
            <a:stretch>
              <a:fillRect/>
            </a:stretch>
          </a:blipFill>
        </p:spPr>
        <p:txBody>
          <a:bodyPr/>
          <a:lstStyle>
            <a:lvl1pPr marL="0" indent="0">
              <a:buNone/>
              <a:defRPr/>
            </a:lvl1pPr>
          </a:lstStyle>
          <a:p>
            <a:r>
              <a:rPr lang="en-US" dirty="0"/>
              <a:t>    </a:t>
            </a:r>
          </a:p>
        </p:txBody>
      </p:sp>
      <p:sp>
        <p:nvSpPr>
          <p:cNvPr id="5" name="Picture Placeholder 11">
            <a:extLst>
              <a:ext uri="{FF2B5EF4-FFF2-40B4-BE49-F238E27FC236}">
                <a16:creationId xmlns:a16="http://schemas.microsoft.com/office/drawing/2014/main" id="{91A2DD15-9272-45AA-04C1-9802A7FE8324}"/>
              </a:ext>
            </a:extLst>
          </p:cNvPr>
          <p:cNvSpPr>
            <a:spLocks noGrp="1"/>
          </p:cNvSpPr>
          <p:nvPr>
            <p:ph type="pic" sz="quarter" idx="29" hasCustomPrompt="1"/>
          </p:nvPr>
        </p:nvSpPr>
        <p:spPr>
          <a:xfrm>
            <a:off x="4796419" y="3074455"/>
            <a:ext cx="187201" cy="709089"/>
          </a:xfrm>
          <a:blipFill>
            <a:blip r:embed="rId6"/>
            <a:stretch>
              <a:fillRect/>
            </a:stretch>
          </a:blipFill>
        </p:spPr>
        <p:txBody>
          <a:bodyPr/>
          <a:lstStyle>
            <a:lvl1pPr marL="0" indent="0">
              <a:buNone/>
              <a:defRPr/>
            </a:lvl1pPr>
          </a:lstStyle>
          <a:p>
            <a:r>
              <a:rPr lang="en-US" dirty="0"/>
              <a:t>   </a:t>
            </a:r>
          </a:p>
        </p:txBody>
      </p:sp>
      <p:sp>
        <p:nvSpPr>
          <p:cNvPr id="6" name="Picture Placeholder 13">
            <a:extLst>
              <a:ext uri="{FF2B5EF4-FFF2-40B4-BE49-F238E27FC236}">
                <a16:creationId xmlns:a16="http://schemas.microsoft.com/office/drawing/2014/main" id="{5F3B80A9-FE2F-C57F-F06A-4C1C0408E917}"/>
              </a:ext>
            </a:extLst>
          </p:cNvPr>
          <p:cNvSpPr>
            <a:spLocks noGrp="1"/>
          </p:cNvSpPr>
          <p:nvPr>
            <p:ph type="pic" sz="quarter" idx="30" hasCustomPrompt="1"/>
          </p:nvPr>
        </p:nvSpPr>
        <p:spPr>
          <a:xfrm>
            <a:off x="7206367" y="3074455"/>
            <a:ext cx="187201" cy="709089"/>
          </a:xfrm>
          <a:blipFill>
            <a:blip r:embed="rId7"/>
            <a:stretch>
              <a:fillRect/>
            </a:stretch>
          </a:blipFill>
        </p:spPr>
        <p:txBody>
          <a:bodyPr/>
          <a:lstStyle>
            <a:lvl1pPr marL="0" indent="0">
              <a:buNone/>
              <a:defRPr/>
            </a:lvl1pPr>
          </a:lstStyle>
          <a:p>
            <a:r>
              <a:rPr lang="en-US" dirty="0"/>
              <a:t>    </a:t>
            </a:r>
          </a:p>
        </p:txBody>
      </p:sp>
      <p:sp>
        <p:nvSpPr>
          <p:cNvPr id="7" name="Picture Placeholder 16">
            <a:extLst>
              <a:ext uri="{FF2B5EF4-FFF2-40B4-BE49-F238E27FC236}">
                <a16:creationId xmlns:a16="http://schemas.microsoft.com/office/drawing/2014/main" id="{2AA59921-8F2B-F481-BB69-A5F515546BC4}"/>
              </a:ext>
            </a:extLst>
          </p:cNvPr>
          <p:cNvSpPr>
            <a:spLocks noGrp="1"/>
          </p:cNvSpPr>
          <p:nvPr>
            <p:ph type="pic" sz="quarter" idx="32" hasCustomPrompt="1"/>
          </p:nvPr>
        </p:nvSpPr>
        <p:spPr>
          <a:xfrm>
            <a:off x="5200653" y="5147270"/>
            <a:ext cx="1795460" cy="641549"/>
          </a:xfrm>
          <a:blipFill>
            <a:blip r:embed="rId8"/>
            <a:stretch>
              <a:fillRect/>
            </a:stretch>
          </a:blipFill>
        </p:spPr>
        <p:txBody>
          <a:bodyPr/>
          <a:lstStyle>
            <a:lvl1pPr marL="0" indent="0">
              <a:buNone/>
              <a:defRPr/>
            </a:lvl1pPr>
          </a:lstStyle>
          <a:p>
            <a:r>
              <a:rPr lang="en-US" dirty="0"/>
              <a:t>   </a:t>
            </a:r>
          </a:p>
        </p:txBody>
      </p:sp>
    </p:spTree>
    <p:extLst>
      <p:ext uri="{BB962C8B-B14F-4D97-AF65-F5344CB8AC3E}">
        <p14:creationId xmlns:p14="http://schemas.microsoft.com/office/powerpoint/2010/main" val="497897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RGE 2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400"/>
            <a:ext cx="3687146" cy="992186"/>
          </a:xfrm>
        </p:spPr>
        <p:txBody>
          <a:bodyPr anchor="t"/>
          <a:lstStyle>
            <a:lvl1pPr>
              <a:lnSpc>
                <a:spcPct val="80000"/>
              </a:lnSpc>
              <a:defRPr sz="4400">
                <a:latin typeface="+mj-lt"/>
              </a:defRPr>
            </a:lvl1pPr>
          </a:lstStyle>
          <a:p>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14640"/>
            <a:ext cx="3687762" cy="3435349"/>
          </a:xfrm>
        </p:spPr>
        <p:txBody>
          <a:bodyPr tIns="0" rIns="0"/>
          <a:lstStyle>
            <a:lvl1pPr marL="0" indent="0">
              <a:lnSpc>
                <a:spcPct val="120000"/>
              </a:lnSpc>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93B9C65-61E0-48C1-9350-86DAB5EE9119}"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4" y="0"/>
            <a:ext cx="6816725" cy="68580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3255A3BF-CA8B-08A1-698B-63FAD2F19AD7}"/>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3BE882FA-B1F6-BB14-4A99-8B57BCE70E1E}"/>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ogo Placeholder 30">
            <a:extLst>
              <a:ext uri="{FF2B5EF4-FFF2-40B4-BE49-F238E27FC236}">
                <a16:creationId xmlns:a16="http://schemas.microsoft.com/office/drawing/2014/main" id="{E787B648-1CB9-EC65-4FF6-D3DA999D18BA}"/>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9C7BF8AC-3B97-9AF5-B8EF-8261429833E9}"/>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5616712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3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5" cy="332398"/>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532411"/>
          </a:xfrm>
        </p:spPr>
        <p:txBody>
          <a:bodyPr anchor="t"/>
          <a:lstStyle>
            <a:lvl1pPr>
              <a:lnSpc>
                <a:spcPct val="80000"/>
              </a:lnSpc>
              <a:defRPr sz="4400">
                <a:latin typeface="+mj-lt"/>
              </a:defRPr>
            </a:lvl1pPr>
          </a:lstStyle>
          <a:p>
            <a:r>
              <a:rPr lang="en-US" dirty="0"/>
              <a:t>define </a:t>
            </a:r>
            <a:br>
              <a:rPr lang="en-US" dirty="0"/>
            </a:br>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09875"/>
            <a:ext cx="3687762" cy="3440113"/>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39EF440C-0A0C-4929-8B04-7F5BEE48C545}"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8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814970B-041A-F9C9-5EEC-5B87958FEFA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40274937-E7D9-F9D2-E39C-1DE65ACEA110}"/>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BE4F5927-42D4-2FF3-6375-72CF8242731F}"/>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4070922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RGE 3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5" cy="332398"/>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532411"/>
          </a:xfrm>
        </p:spPr>
        <p:txBody>
          <a:bodyPr anchor="t"/>
          <a:lstStyle>
            <a:lvl1pPr>
              <a:lnSpc>
                <a:spcPct val="80000"/>
              </a:lnSpc>
              <a:defRPr sz="4400">
                <a:latin typeface="+mj-lt"/>
              </a:defRPr>
            </a:lvl1pPr>
          </a:lstStyle>
          <a:p>
            <a:r>
              <a:rPr lang="en-US" dirty="0"/>
              <a:t>define </a:t>
            </a:r>
            <a:br>
              <a:rPr lang="en-US" dirty="0"/>
            </a:br>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09875"/>
            <a:ext cx="3687762" cy="3440113"/>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6D32D96C-1642-4FD3-B618-DCEFF22B74A7}"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814970B-041A-F9C9-5EEC-5B87958FEFA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9FCCA16A-F221-9E9B-385D-58B29273D641}"/>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68F5C3CA-BBC5-6A29-23F3-C4F8CEE9CBF7}"/>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6737449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RGE 3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5" cy="332398"/>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532411"/>
          </a:xfrm>
        </p:spPr>
        <p:txBody>
          <a:bodyPr anchor="t"/>
          <a:lstStyle>
            <a:lvl1pPr>
              <a:lnSpc>
                <a:spcPct val="80000"/>
              </a:lnSpc>
              <a:defRPr sz="4400">
                <a:latin typeface="+mj-lt"/>
              </a:defRPr>
            </a:lvl1pPr>
          </a:lstStyle>
          <a:p>
            <a:r>
              <a:rPr lang="en-US" dirty="0"/>
              <a:t>define </a:t>
            </a:r>
            <a:br>
              <a:rPr lang="en-US" dirty="0"/>
            </a:br>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2809875"/>
            <a:ext cx="3687762" cy="3440113"/>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C58F8F0B-7BC3-478E-BB94-28D00097786F}"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0"/>
            <a:ext cx="6816724" cy="68580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4814970B-041A-F9C9-5EEC-5B87958FEFAD}"/>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F0A29BB5-B832-A616-6FAB-5BF6F104A678}"/>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rgbClr val="767171"/>
                </a:solidFill>
              </a:rPr>
              <a:t>CONFIDENTIAL INFORMATION | This information belongs to Embraer and cannot be used or reproduced without written permission from the Company.</a:t>
            </a:r>
          </a:p>
        </p:txBody>
      </p:sp>
      <p:sp>
        <p:nvSpPr>
          <p:cNvPr id="8" name="Logo Placeholder 30">
            <a:extLst>
              <a:ext uri="{FF2B5EF4-FFF2-40B4-BE49-F238E27FC236}">
                <a16:creationId xmlns:a16="http://schemas.microsoft.com/office/drawing/2014/main" id="{338F487D-6135-A588-16EC-DC70DE033FA9}"/>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71759AFA-0C1F-0751-5AC2-2A28559BEEA2}"/>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68487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XLARGE 2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605260"/>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399"/>
            <a:ext cx="3687146" cy="1264921"/>
          </a:xfrm>
        </p:spPr>
        <p:txBody>
          <a:bodyPr anchor="t"/>
          <a:lstStyle>
            <a:lvl1pPr>
              <a:lnSpc>
                <a:spcPct val="80000"/>
              </a:lnSpc>
              <a:defRPr sz="5400">
                <a:latin typeface="+mj-lt"/>
              </a:defRPr>
            </a:lvl1pPr>
          </a:lstStyle>
          <a:p>
            <a:r>
              <a:rPr lang="en-US" dirty="0"/>
              <a:t>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028634"/>
            <a:ext cx="3687762" cy="322135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A9D645CC-0ECE-432F-AAC0-925FDC10FBAD}"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9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002734BE-0949-0CF4-59D4-F533D48D6605}"/>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8D5B0AC1-83B5-EC1C-134B-5AE8E2A2826F}"/>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7B5B59F3-2C41-08B0-F593-BDE4A3E1F849}"/>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3569460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XLARGE 2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605260"/>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399"/>
            <a:ext cx="3687146" cy="1264921"/>
          </a:xfrm>
        </p:spPr>
        <p:txBody>
          <a:bodyPr anchor="t"/>
          <a:lstStyle>
            <a:lvl1pPr>
              <a:lnSpc>
                <a:spcPct val="80000"/>
              </a:lnSpc>
              <a:defRPr sz="5400">
                <a:latin typeface="+mj-lt"/>
              </a:defRPr>
            </a:lvl1pPr>
          </a:lstStyle>
          <a:p>
            <a:r>
              <a:rPr lang="en-US" dirty="0"/>
              <a:t>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028634"/>
            <a:ext cx="3687762" cy="322135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05BE99D-09AF-41E9-A560-00A3350C0DD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002734BE-0949-0CF4-59D4-F533D48D6605}"/>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35D37AE9-9EB8-B8C9-5B91-EC97DE83B272}"/>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F0390874-5483-F84A-254D-8F5CDC8E85E5}"/>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2638478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XLARGE 2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605260"/>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399"/>
            <a:ext cx="3687146" cy="1264921"/>
          </a:xfrm>
        </p:spPr>
        <p:txBody>
          <a:bodyPr anchor="t"/>
          <a:lstStyle>
            <a:lvl1pPr>
              <a:lnSpc>
                <a:spcPct val="80000"/>
              </a:lnSpc>
              <a:defRPr sz="5400">
                <a:latin typeface="+mj-lt"/>
              </a:defRPr>
            </a:lvl1pPr>
          </a:lstStyle>
          <a:p>
            <a:r>
              <a:rPr lang="en-US" dirty="0"/>
              <a:t>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028634"/>
            <a:ext cx="3687762" cy="322135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911ECC06-89A4-4B7C-800F-1E8BCD1226E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4" y="0"/>
            <a:ext cx="6816725" cy="68580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002734BE-0949-0CF4-59D4-F533D48D6605}"/>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044A9B44-66D8-8602-8A5F-EF0F04473E4D}"/>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ogo Placeholder 30">
            <a:extLst>
              <a:ext uri="{FF2B5EF4-FFF2-40B4-BE49-F238E27FC236}">
                <a16:creationId xmlns:a16="http://schemas.microsoft.com/office/drawing/2014/main" id="{2F9B113E-55EB-8A72-07AD-9B71C39A1657}"/>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9D5DB3D5-E6A1-192D-CBA5-B372276267B9}"/>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5172394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XLARGE 3 lines Headline + SMALL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723527"/>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916905"/>
          </a:xfrm>
        </p:spPr>
        <p:txBody>
          <a:bodyPr anchor="t"/>
          <a:lstStyle>
            <a:lvl1pPr>
              <a:lnSpc>
                <a:spcPct val="80000"/>
              </a:lnSpc>
              <a:defRPr sz="5400">
                <a:latin typeface="+mj-lt"/>
              </a:defRPr>
            </a:lvl1pPr>
          </a:lstStyle>
          <a:p>
            <a:r>
              <a:rPr lang="en-US" dirty="0"/>
              <a:t>Define  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146901"/>
            <a:ext cx="3687762" cy="3103087"/>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A71B47AF-D015-480C-83B1-E2679EDC060F}"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6095999" y="1295399"/>
            <a:ext cx="5133975" cy="4954589"/>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F395125F-5FD1-2873-519C-455463B77082}"/>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BD12408A-C03A-6F7B-D98E-93501A2EE13D}"/>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3568132A-1544-6DAB-678A-899A00410254}"/>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1213432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XLARGE 3 lines Headline + MEDIUM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723527"/>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916905"/>
          </a:xfrm>
        </p:spPr>
        <p:txBody>
          <a:bodyPr anchor="t"/>
          <a:lstStyle>
            <a:lvl1pPr>
              <a:lnSpc>
                <a:spcPct val="80000"/>
              </a:lnSpc>
              <a:defRPr sz="5400">
                <a:latin typeface="+mj-lt"/>
              </a:defRPr>
            </a:lvl1pPr>
          </a:lstStyle>
          <a:p>
            <a:r>
              <a:rPr lang="en-US" dirty="0"/>
              <a:t>Define  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146901"/>
            <a:ext cx="3687762" cy="3103087"/>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31EB07CB-7BC6-4256-B9E1-9A925E2B89CC}"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5" y="750889"/>
            <a:ext cx="5854700" cy="54991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F395125F-5FD1-2873-519C-455463B77082}"/>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Logo Placeholder 30">
            <a:extLst>
              <a:ext uri="{FF2B5EF4-FFF2-40B4-BE49-F238E27FC236}">
                <a16:creationId xmlns:a16="http://schemas.microsoft.com/office/drawing/2014/main" id="{CBF46587-C2FA-07D0-8631-2CF039F8FBAE}"/>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2FAF2981-9F9B-F540-E558-AEB4061F5451}"/>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4881256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XLARGE 3 lines Headline + LARGE Content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723527"/>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5"/>
            <a:ext cx="3687146" cy="1916905"/>
          </a:xfrm>
        </p:spPr>
        <p:txBody>
          <a:bodyPr anchor="t"/>
          <a:lstStyle>
            <a:lvl1pPr>
              <a:lnSpc>
                <a:spcPct val="80000"/>
              </a:lnSpc>
              <a:defRPr sz="5400">
                <a:latin typeface="+mj-lt"/>
              </a:defRPr>
            </a:lvl1pPr>
          </a:lstStyle>
          <a:p>
            <a:r>
              <a:rPr lang="en-US" dirty="0"/>
              <a:t>Define largest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6" y="3146901"/>
            <a:ext cx="3687762" cy="3103087"/>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4B6EE698-9F0A-49A3-9486-B00F6B8F98D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Right Content Placeholder">
            <a:extLst>
              <a:ext uri="{FF2B5EF4-FFF2-40B4-BE49-F238E27FC236}">
                <a16:creationId xmlns:a16="http://schemas.microsoft.com/office/drawing/2014/main" id="{530EEBEF-C61A-C265-117D-9DF0318ABA7D}"/>
              </a:ext>
            </a:extLst>
          </p:cNvPr>
          <p:cNvSpPr>
            <a:spLocks noGrp="1"/>
          </p:cNvSpPr>
          <p:nvPr>
            <p:ph sz="quarter" idx="22" hasCustomPrompt="1"/>
          </p:nvPr>
        </p:nvSpPr>
        <p:spPr>
          <a:xfrm>
            <a:off x="5375274" y="0"/>
            <a:ext cx="6816725" cy="6858000"/>
          </a:xfrm>
        </p:spPr>
        <p:txBody>
          <a:bodyPr/>
          <a:lstStyle>
            <a:lvl1pPr marL="0" indent="0">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  </a:t>
            </a:r>
          </a:p>
        </p:txBody>
      </p:sp>
      <p:sp>
        <p:nvSpPr>
          <p:cNvPr id="9" name="Text Placeholder 21">
            <a:extLst>
              <a:ext uri="{FF2B5EF4-FFF2-40B4-BE49-F238E27FC236}">
                <a16:creationId xmlns:a16="http://schemas.microsoft.com/office/drawing/2014/main" id="{F395125F-5FD1-2873-519C-455463B77082}"/>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p>
        </p:txBody>
      </p:sp>
      <p:sp>
        <p:nvSpPr>
          <p:cNvPr id="6" name="Confidential Horizontal">
            <a:extLst>
              <a:ext uri="{FF2B5EF4-FFF2-40B4-BE49-F238E27FC236}">
                <a16:creationId xmlns:a16="http://schemas.microsoft.com/office/drawing/2014/main" id="{312567B5-6AEC-CE68-F646-1F84781015CC}"/>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ogo Placeholder 30">
            <a:extLst>
              <a:ext uri="{FF2B5EF4-FFF2-40B4-BE49-F238E27FC236}">
                <a16:creationId xmlns:a16="http://schemas.microsoft.com/office/drawing/2014/main" id="{CC0968CB-ECFC-90EB-E810-074B0ADBAA61}"/>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49956FB3-EF59-260B-F190-8BB081C809D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7749588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 Solid">
    <p:spTree>
      <p:nvGrpSpPr>
        <p:cNvPr id="1" name=""/>
        <p:cNvGrpSpPr/>
        <p:nvPr/>
      </p:nvGrpSpPr>
      <p:grpSpPr>
        <a:xfrm>
          <a:off x="0" y="0"/>
          <a:ext cx="0" cy="0"/>
          <a:chOff x="0" y="0"/>
          <a:chExt cx="0" cy="0"/>
        </a:xfrm>
      </p:grpSpPr>
      <p:sp>
        <p:nvSpPr>
          <p:cNvPr id="10" name="Retângulo 9">
            <a:extLst>
              <a:ext uri="{FF2B5EF4-FFF2-40B4-BE49-F238E27FC236}">
                <a16:creationId xmlns:a16="http://schemas.microsoft.com/office/drawing/2014/main" id="{AADCCB6D-9EC6-9742-8CF7-D86B8F5E4603}"/>
              </a:ext>
            </a:extLst>
          </p:cNvPr>
          <p:cNvSpPr/>
          <p:nvPr userDrawn="1"/>
        </p:nvSpPr>
        <p:spPr>
          <a:xfrm>
            <a:off x="-1" y="10322"/>
            <a:ext cx="12192000" cy="6858001"/>
          </a:xfrm>
          <a:prstGeom prst="rect">
            <a:avLst/>
          </a:prstGeom>
          <a:solidFill>
            <a:srgbClr val="0A1A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algn="ctr" defTabSz="412740">
              <a:lnSpc>
                <a:spcPct val="100000"/>
              </a:lnSpc>
              <a:spcBef>
                <a:spcPts val="0"/>
              </a:spcBef>
            </a:pPr>
            <a:endParaRPr lang="pt-BR" sz="1600">
              <a:solidFill>
                <a:srgbClr val="FFFFFF"/>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p:txBody>
      </p:sp>
      <p:sp>
        <p:nvSpPr>
          <p:cNvPr id="4" name="Linha">
            <a:extLst>
              <a:ext uri="{FF2B5EF4-FFF2-40B4-BE49-F238E27FC236}">
                <a16:creationId xmlns:a16="http://schemas.microsoft.com/office/drawing/2014/main" id="{8D885617-7192-4E42-A6AE-77EF97301E08}"/>
              </a:ext>
            </a:extLst>
          </p:cNvPr>
          <p:cNvSpPr/>
          <p:nvPr userDrawn="1"/>
        </p:nvSpPr>
        <p:spPr>
          <a:xfrm flipV="1">
            <a:off x="7490089" y="2950634"/>
            <a:ext cx="332912" cy="956735"/>
          </a:xfrm>
          <a:prstGeom prst="line">
            <a:avLst/>
          </a:prstGeom>
          <a:ln w="15875">
            <a:solidFill>
              <a:schemeClr val="accent3"/>
            </a:solidFill>
            <a:miter lim="400000"/>
          </a:ln>
        </p:spPr>
        <p:txBody>
          <a:bodyPr lIns="25400" tIns="25400" rIns="25400" bIns="25400" anchor="ctr"/>
          <a:lstStyle/>
          <a:p>
            <a:endParaRPr sz="900"/>
          </a:p>
        </p:txBody>
      </p:sp>
      <p:grpSp>
        <p:nvGrpSpPr>
          <p:cNvPr id="14" name="Gráfico 12">
            <a:extLst>
              <a:ext uri="{FF2B5EF4-FFF2-40B4-BE49-F238E27FC236}">
                <a16:creationId xmlns:a16="http://schemas.microsoft.com/office/drawing/2014/main" id="{1C4309F6-308F-4DB5-ACE8-E27492DB748F}"/>
              </a:ext>
            </a:extLst>
          </p:cNvPr>
          <p:cNvGrpSpPr/>
          <p:nvPr userDrawn="1"/>
        </p:nvGrpSpPr>
        <p:grpSpPr>
          <a:xfrm>
            <a:off x="5020780" y="3242251"/>
            <a:ext cx="2162837" cy="363060"/>
            <a:chOff x="0" y="-2"/>
            <a:chExt cx="2091160" cy="358464"/>
          </a:xfrm>
          <a:solidFill>
            <a:schemeClr val="bg1"/>
          </a:solidFill>
        </p:grpSpPr>
        <p:sp>
          <p:nvSpPr>
            <p:cNvPr id="15" name="Forma Livre: Forma 61">
              <a:extLst>
                <a:ext uri="{FF2B5EF4-FFF2-40B4-BE49-F238E27FC236}">
                  <a16:creationId xmlns:a16="http://schemas.microsoft.com/office/drawing/2014/main" id="{9189C95D-219E-4F01-A245-C3EFFBE4086C}"/>
                </a:ext>
              </a:extLst>
            </p:cNvPr>
            <p:cNvSpPr/>
            <p:nvPr/>
          </p:nvSpPr>
          <p:spPr>
            <a:xfrm>
              <a:off x="0" y="-2"/>
              <a:ext cx="351076" cy="358464"/>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grpFill/>
            <a:ln w="12700" cap="flat">
              <a:noFill/>
              <a:miter lim="400000"/>
            </a:ln>
            <a:effectLst/>
          </p:spPr>
          <p:txBody>
            <a:bodyPr wrap="square" lIns="17145" tIns="17145" rIns="17145" bIns="17145" numCol="1" anchor="ctr">
              <a:noAutofit/>
            </a:bodyPr>
            <a:lstStyle/>
            <a:p>
              <a:pPr>
                <a:defRPr>
                  <a:solidFill>
                    <a:srgbClr val="100690"/>
                  </a:solidFill>
                  <a:latin typeface="+mn-lt"/>
                  <a:ea typeface="+mn-ea"/>
                  <a:cs typeface="+mn-cs"/>
                  <a:sym typeface="Arial" panose="020B0604020202020204" pitchFamily="34" charset="0"/>
                </a:defRPr>
              </a:pPr>
              <a:endParaRPr sz="900" dirty="0"/>
            </a:p>
          </p:txBody>
        </p:sp>
        <p:sp>
          <p:nvSpPr>
            <p:cNvPr id="16" name="Forma Livre: Forma 62">
              <a:extLst>
                <a:ext uri="{FF2B5EF4-FFF2-40B4-BE49-F238E27FC236}">
                  <a16:creationId xmlns:a16="http://schemas.microsoft.com/office/drawing/2014/main" id="{D67116F3-BB11-4EAF-BE6C-1DBACA46B5D5}"/>
                </a:ext>
              </a:extLst>
            </p:cNvPr>
            <p:cNvSpPr/>
            <p:nvPr/>
          </p:nvSpPr>
          <p:spPr>
            <a:xfrm>
              <a:off x="438785" y="89591"/>
              <a:ext cx="1652375" cy="179513"/>
            </a:xfrm>
            <a:custGeom>
              <a:avLst/>
              <a:gdLst/>
              <a:ahLst/>
              <a:cxnLst>
                <a:cxn ang="0">
                  <a:pos x="wd2" y="hd2"/>
                </a:cxn>
                <a:cxn ang="5400000">
                  <a:pos x="wd2" y="hd2"/>
                </a:cxn>
                <a:cxn ang="10800000">
                  <a:pos x="wd2" y="hd2"/>
                </a:cxn>
                <a:cxn ang="16200000">
                  <a:pos x="wd2" y="hd2"/>
                </a:cxn>
              </a:cxnLst>
              <a:rect l="0" t="0" r="r" b="b"/>
              <a:pathLst>
                <a:path w="21600" h="21600" extrusionOk="0">
                  <a:moveTo>
                    <a:pt x="656" y="5265"/>
                  </a:moveTo>
                  <a:lnTo>
                    <a:pt x="656" y="8521"/>
                  </a:lnTo>
                  <a:lnTo>
                    <a:pt x="2300" y="8521"/>
                  </a:lnTo>
                  <a:lnTo>
                    <a:pt x="2300" y="13068"/>
                  </a:lnTo>
                  <a:lnTo>
                    <a:pt x="656" y="13068"/>
                  </a:lnTo>
                  <a:lnTo>
                    <a:pt x="656" y="16368"/>
                  </a:lnTo>
                  <a:lnTo>
                    <a:pt x="2462" y="16368"/>
                  </a:lnTo>
                  <a:lnTo>
                    <a:pt x="2462" y="21594"/>
                  </a:lnTo>
                  <a:lnTo>
                    <a:pt x="0" y="21594"/>
                  </a:lnTo>
                  <a:lnTo>
                    <a:pt x="0" y="0"/>
                  </a:lnTo>
                  <a:lnTo>
                    <a:pt x="2461" y="0"/>
                  </a:lnTo>
                  <a:lnTo>
                    <a:pt x="2461" y="5265"/>
                  </a:lnTo>
                  <a:lnTo>
                    <a:pt x="656" y="5265"/>
                  </a:lnTo>
                  <a:close/>
                  <a:moveTo>
                    <a:pt x="2789" y="21594"/>
                  </a:moveTo>
                  <a:lnTo>
                    <a:pt x="2789" y="0"/>
                  </a:lnTo>
                  <a:lnTo>
                    <a:pt x="3893" y="0"/>
                  </a:lnTo>
                  <a:lnTo>
                    <a:pt x="4666" y="13481"/>
                  </a:lnTo>
                  <a:lnTo>
                    <a:pt x="5438" y="0"/>
                  </a:lnTo>
                  <a:lnTo>
                    <a:pt x="6561" y="0"/>
                  </a:lnTo>
                  <a:lnTo>
                    <a:pt x="6561" y="21594"/>
                  </a:lnTo>
                  <a:lnTo>
                    <a:pt x="5903" y="21594"/>
                  </a:lnTo>
                  <a:lnTo>
                    <a:pt x="5903" y="6228"/>
                  </a:lnTo>
                  <a:lnTo>
                    <a:pt x="5875" y="6228"/>
                  </a:lnTo>
                  <a:lnTo>
                    <a:pt x="4989" y="21594"/>
                  </a:lnTo>
                  <a:lnTo>
                    <a:pt x="4340" y="21594"/>
                  </a:lnTo>
                  <a:lnTo>
                    <a:pt x="3459" y="6211"/>
                  </a:lnTo>
                  <a:lnTo>
                    <a:pt x="3443" y="6211"/>
                  </a:lnTo>
                  <a:lnTo>
                    <a:pt x="3443" y="21594"/>
                  </a:lnTo>
                  <a:lnTo>
                    <a:pt x="2789" y="21594"/>
                  </a:lnTo>
                  <a:close/>
                  <a:moveTo>
                    <a:pt x="6892" y="21594"/>
                  </a:moveTo>
                  <a:lnTo>
                    <a:pt x="6892" y="0"/>
                  </a:lnTo>
                  <a:lnTo>
                    <a:pt x="8828" y="0"/>
                  </a:lnTo>
                  <a:cubicBezTo>
                    <a:pt x="9310" y="0"/>
                    <a:pt x="9543" y="1970"/>
                    <a:pt x="9543" y="6030"/>
                  </a:cubicBezTo>
                  <a:cubicBezTo>
                    <a:pt x="9543" y="8346"/>
                    <a:pt x="9443" y="9767"/>
                    <a:pt x="9227" y="10599"/>
                  </a:cubicBezTo>
                  <a:cubicBezTo>
                    <a:pt x="9499" y="11052"/>
                    <a:pt x="9618" y="12649"/>
                    <a:pt x="9618" y="15734"/>
                  </a:cubicBezTo>
                  <a:cubicBezTo>
                    <a:pt x="9618" y="19896"/>
                    <a:pt x="9404" y="21589"/>
                    <a:pt x="8929" y="21589"/>
                  </a:cubicBezTo>
                  <a:lnTo>
                    <a:pt x="6892" y="21589"/>
                  </a:lnTo>
                  <a:close/>
                  <a:moveTo>
                    <a:pt x="8869" y="6630"/>
                  </a:moveTo>
                  <a:cubicBezTo>
                    <a:pt x="8869" y="5549"/>
                    <a:pt x="8801" y="4847"/>
                    <a:pt x="8700" y="4847"/>
                  </a:cubicBezTo>
                  <a:lnTo>
                    <a:pt x="7548" y="4847"/>
                  </a:lnTo>
                  <a:lnTo>
                    <a:pt x="7548" y="8408"/>
                  </a:lnTo>
                  <a:lnTo>
                    <a:pt x="8700" y="8408"/>
                  </a:lnTo>
                  <a:cubicBezTo>
                    <a:pt x="8811" y="8408"/>
                    <a:pt x="8869" y="7785"/>
                    <a:pt x="8869" y="6630"/>
                  </a:cubicBezTo>
                  <a:moveTo>
                    <a:pt x="8941" y="14704"/>
                  </a:moveTo>
                  <a:cubicBezTo>
                    <a:pt x="8941" y="13549"/>
                    <a:pt x="8869" y="12807"/>
                    <a:pt x="8760" y="12807"/>
                  </a:cubicBezTo>
                  <a:lnTo>
                    <a:pt x="7549" y="12807"/>
                  </a:lnTo>
                  <a:lnTo>
                    <a:pt x="7549" y="16691"/>
                  </a:lnTo>
                  <a:lnTo>
                    <a:pt x="8760" y="16691"/>
                  </a:lnTo>
                  <a:cubicBezTo>
                    <a:pt x="8875" y="16691"/>
                    <a:pt x="8941" y="15978"/>
                    <a:pt x="8941" y="14704"/>
                  </a:cubicBezTo>
                  <a:moveTo>
                    <a:pt x="14775" y="12807"/>
                  </a:moveTo>
                  <a:lnTo>
                    <a:pt x="14336" y="5175"/>
                  </a:lnTo>
                  <a:lnTo>
                    <a:pt x="13905" y="12807"/>
                  </a:lnTo>
                  <a:lnTo>
                    <a:pt x="14775" y="12807"/>
                  </a:lnTo>
                  <a:close/>
                  <a:moveTo>
                    <a:pt x="12666" y="21594"/>
                  </a:moveTo>
                  <a:lnTo>
                    <a:pt x="13904" y="0"/>
                  </a:lnTo>
                  <a:lnTo>
                    <a:pt x="14788" y="0"/>
                  </a:lnTo>
                  <a:lnTo>
                    <a:pt x="16003" y="21594"/>
                  </a:lnTo>
                  <a:lnTo>
                    <a:pt x="15242" y="21594"/>
                  </a:lnTo>
                  <a:lnTo>
                    <a:pt x="15024" y="17999"/>
                  </a:lnTo>
                  <a:lnTo>
                    <a:pt x="13642" y="17999"/>
                  </a:lnTo>
                  <a:lnTo>
                    <a:pt x="13420" y="21594"/>
                  </a:lnTo>
                  <a:lnTo>
                    <a:pt x="12666" y="21594"/>
                  </a:lnTo>
                  <a:close/>
                  <a:moveTo>
                    <a:pt x="19446" y="5379"/>
                  </a:moveTo>
                  <a:lnTo>
                    <a:pt x="19446" y="10661"/>
                  </a:lnTo>
                  <a:lnTo>
                    <a:pt x="20696" y="10661"/>
                  </a:lnTo>
                  <a:cubicBezTo>
                    <a:pt x="20879" y="10661"/>
                    <a:pt x="20932" y="9863"/>
                    <a:pt x="20932" y="7813"/>
                  </a:cubicBezTo>
                  <a:cubicBezTo>
                    <a:pt x="20932" y="6149"/>
                    <a:pt x="20864" y="5379"/>
                    <a:pt x="20696" y="5379"/>
                  </a:cubicBezTo>
                  <a:lnTo>
                    <a:pt x="19446" y="5379"/>
                  </a:lnTo>
                  <a:close/>
                  <a:moveTo>
                    <a:pt x="21600" y="7072"/>
                  </a:moveTo>
                  <a:cubicBezTo>
                    <a:pt x="21600" y="10633"/>
                    <a:pt x="21511" y="12416"/>
                    <a:pt x="21242" y="13073"/>
                  </a:cubicBezTo>
                  <a:cubicBezTo>
                    <a:pt x="21467" y="13617"/>
                    <a:pt x="21582" y="14976"/>
                    <a:pt x="21582" y="17172"/>
                  </a:cubicBezTo>
                  <a:lnTo>
                    <a:pt x="21582" y="21600"/>
                  </a:lnTo>
                  <a:lnTo>
                    <a:pt x="20926" y="21600"/>
                  </a:lnTo>
                  <a:lnTo>
                    <a:pt x="20926" y="18305"/>
                  </a:lnTo>
                  <a:cubicBezTo>
                    <a:pt x="20926" y="16465"/>
                    <a:pt x="20847" y="16074"/>
                    <a:pt x="20630" y="16074"/>
                  </a:cubicBezTo>
                  <a:lnTo>
                    <a:pt x="19445" y="16074"/>
                  </a:lnTo>
                  <a:lnTo>
                    <a:pt x="19445" y="21600"/>
                  </a:lnTo>
                  <a:lnTo>
                    <a:pt x="18786" y="21600"/>
                  </a:lnTo>
                  <a:lnTo>
                    <a:pt x="18786" y="0"/>
                  </a:lnTo>
                  <a:lnTo>
                    <a:pt x="20719" y="0"/>
                  </a:lnTo>
                  <a:cubicBezTo>
                    <a:pt x="21370" y="0"/>
                    <a:pt x="21600" y="1455"/>
                    <a:pt x="21600" y="7072"/>
                  </a:cubicBezTo>
                  <a:moveTo>
                    <a:pt x="10529" y="5379"/>
                  </a:moveTo>
                  <a:lnTo>
                    <a:pt x="10529" y="10661"/>
                  </a:lnTo>
                  <a:lnTo>
                    <a:pt x="11780" y="10661"/>
                  </a:lnTo>
                  <a:cubicBezTo>
                    <a:pt x="11963" y="10661"/>
                    <a:pt x="12017" y="9863"/>
                    <a:pt x="12017" y="7813"/>
                  </a:cubicBezTo>
                  <a:cubicBezTo>
                    <a:pt x="12017" y="6149"/>
                    <a:pt x="11948" y="5379"/>
                    <a:pt x="11780" y="5379"/>
                  </a:cubicBezTo>
                  <a:lnTo>
                    <a:pt x="10529" y="5379"/>
                  </a:lnTo>
                  <a:close/>
                  <a:moveTo>
                    <a:pt x="12683" y="7072"/>
                  </a:moveTo>
                  <a:cubicBezTo>
                    <a:pt x="12683" y="10633"/>
                    <a:pt x="12595" y="12416"/>
                    <a:pt x="12326" y="13073"/>
                  </a:cubicBezTo>
                  <a:cubicBezTo>
                    <a:pt x="12550" y="13617"/>
                    <a:pt x="12666" y="14976"/>
                    <a:pt x="12666" y="17172"/>
                  </a:cubicBezTo>
                  <a:lnTo>
                    <a:pt x="12666" y="21600"/>
                  </a:lnTo>
                  <a:lnTo>
                    <a:pt x="12010" y="21600"/>
                  </a:lnTo>
                  <a:lnTo>
                    <a:pt x="12010" y="18305"/>
                  </a:lnTo>
                  <a:cubicBezTo>
                    <a:pt x="12010" y="16465"/>
                    <a:pt x="11930" y="16074"/>
                    <a:pt x="11714" y="16074"/>
                  </a:cubicBezTo>
                  <a:lnTo>
                    <a:pt x="10529" y="16074"/>
                  </a:lnTo>
                  <a:lnTo>
                    <a:pt x="10529" y="21600"/>
                  </a:lnTo>
                  <a:lnTo>
                    <a:pt x="9869" y="21600"/>
                  </a:lnTo>
                  <a:lnTo>
                    <a:pt x="9869" y="0"/>
                  </a:lnTo>
                  <a:lnTo>
                    <a:pt x="11803" y="0"/>
                  </a:lnTo>
                  <a:cubicBezTo>
                    <a:pt x="12453" y="0"/>
                    <a:pt x="12683" y="1455"/>
                    <a:pt x="12683" y="7072"/>
                  </a:cubicBezTo>
                  <a:moveTo>
                    <a:pt x="16660" y="5265"/>
                  </a:moveTo>
                  <a:lnTo>
                    <a:pt x="16660" y="8521"/>
                  </a:lnTo>
                  <a:lnTo>
                    <a:pt x="18304" y="8521"/>
                  </a:lnTo>
                  <a:lnTo>
                    <a:pt x="18304" y="13068"/>
                  </a:lnTo>
                  <a:lnTo>
                    <a:pt x="16660" y="13068"/>
                  </a:lnTo>
                  <a:lnTo>
                    <a:pt x="16660" y="16368"/>
                  </a:lnTo>
                  <a:lnTo>
                    <a:pt x="18465" y="16368"/>
                  </a:lnTo>
                  <a:lnTo>
                    <a:pt x="18465" y="21594"/>
                  </a:lnTo>
                  <a:lnTo>
                    <a:pt x="16004" y="21594"/>
                  </a:lnTo>
                  <a:lnTo>
                    <a:pt x="16004" y="0"/>
                  </a:lnTo>
                  <a:lnTo>
                    <a:pt x="18465" y="0"/>
                  </a:lnTo>
                  <a:lnTo>
                    <a:pt x="18465" y="5265"/>
                  </a:lnTo>
                  <a:lnTo>
                    <a:pt x="16660" y="5265"/>
                  </a:lnTo>
                  <a:close/>
                </a:path>
              </a:pathLst>
            </a:custGeom>
            <a:grpFill/>
            <a:ln w="12700" cap="flat">
              <a:noFill/>
              <a:miter lim="400000"/>
            </a:ln>
            <a:effectLst/>
          </p:spPr>
          <p:txBody>
            <a:bodyPr wrap="square" lIns="17145" tIns="17145" rIns="17145" bIns="17145" numCol="1" anchor="ctr">
              <a:noAutofit/>
            </a:bodyPr>
            <a:lstStyle/>
            <a:p>
              <a:pPr>
                <a:defRPr>
                  <a:solidFill>
                    <a:srgbClr val="100690"/>
                  </a:solidFill>
                  <a:latin typeface="+mn-lt"/>
                  <a:ea typeface="+mn-ea"/>
                  <a:cs typeface="+mn-cs"/>
                  <a:sym typeface="Arial" panose="020B0604020202020204" pitchFamily="34" charset="0"/>
                </a:defRPr>
              </a:pPr>
              <a:endParaRPr sz="900" dirty="0"/>
            </a:p>
          </p:txBody>
        </p:sp>
      </p:grpSp>
      <p:sp>
        <p:nvSpPr>
          <p:cNvPr id="12" name="thank you">
            <a:extLst>
              <a:ext uri="{FF2B5EF4-FFF2-40B4-BE49-F238E27FC236}">
                <a16:creationId xmlns:a16="http://schemas.microsoft.com/office/drawing/2014/main" id="{A7778434-4E2F-CA47-9E23-7E79C94A67AD}"/>
              </a:ext>
            </a:extLst>
          </p:cNvPr>
          <p:cNvSpPr txBox="1"/>
          <p:nvPr userDrawn="1"/>
        </p:nvSpPr>
        <p:spPr>
          <a:xfrm>
            <a:off x="8063721" y="3134049"/>
            <a:ext cx="2662524" cy="5899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xmlns:p14="http://schemas.microsoft.com/office/powerpoint/2010/main" xmlns:a16="http://schemas.microsoft.com/office/drawing/2014/main" val="1"/>
            </a:ext>
          </a:extLst>
        </p:spPr>
        <p:txBody>
          <a:bodyPr wrap="none" lIns="25400" tIns="25400" rIns="25400" bIns="25400" anchor="ctr">
            <a:spAutoFit/>
          </a:bodyPr>
          <a:lstStyle>
            <a:lvl1pPr>
              <a:defRPr sz="7000" cap="all">
                <a:solidFill>
                  <a:srgbClr val="FFFFFF"/>
                </a:solidFill>
                <a:latin typeface="Arial"/>
                <a:ea typeface="Arial"/>
                <a:cs typeface="Arial"/>
                <a:sym typeface="Arial"/>
              </a:defRPr>
            </a:lvl1pPr>
          </a:lstStyle>
          <a:p>
            <a:r>
              <a:rPr sz="3500" dirty="0">
                <a:latin typeface="+mn-lt"/>
              </a:rPr>
              <a:t>thank you</a:t>
            </a:r>
          </a:p>
        </p:txBody>
      </p:sp>
      <p:sp>
        <p:nvSpPr>
          <p:cNvPr id="2" name="Date Placeholder 1">
            <a:extLst>
              <a:ext uri="{FF2B5EF4-FFF2-40B4-BE49-F238E27FC236}">
                <a16:creationId xmlns:a16="http://schemas.microsoft.com/office/drawing/2014/main" id="{82349A46-0BC5-34D4-A736-CB676354660A}"/>
              </a:ext>
            </a:extLst>
          </p:cNvPr>
          <p:cNvSpPr>
            <a:spLocks noGrp="1"/>
          </p:cNvSpPr>
          <p:nvPr>
            <p:ph type="dt" sz="half" idx="10"/>
          </p:nvPr>
        </p:nvSpPr>
        <p:spPr/>
        <p:txBody>
          <a:bodyPr/>
          <a:lstStyle/>
          <a:p>
            <a:fld id="{DBE9DA4B-7D7E-456A-AAB3-E222B1FFE6C4}" type="datetime1">
              <a:rPr lang="en-US"/>
              <a:t>11/16/2024</a:t>
            </a:fld>
            <a:endParaRPr lang="en-US" dirty="0"/>
          </a:p>
        </p:txBody>
      </p:sp>
      <p:sp>
        <p:nvSpPr>
          <p:cNvPr id="3" name="Footer Placeholder 2">
            <a:extLst>
              <a:ext uri="{FF2B5EF4-FFF2-40B4-BE49-F238E27FC236}">
                <a16:creationId xmlns:a16="http://schemas.microsoft.com/office/drawing/2014/main" id="{6D56638D-DFB3-4C54-ADC8-BCAADBBA775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75F6441-2CFA-D0D1-215D-20EA898E0186}"/>
              </a:ext>
            </a:extLst>
          </p:cNvPr>
          <p:cNvSpPr>
            <a:spLocks noGrp="1"/>
          </p:cNvSpPr>
          <p:nvPr>
            <p:ph type="sldNum" sz="quarter" idx="12"/>
          </p:nvPr>
        </p:nvSpPr>
        <p:spPr/>
        <p:txBody>
          <a:bodyPr/>
          <a:lstStyle/>
          <a:p>
            <a:fld id="{BC856695-CDCE-4C54-BCD0-9C2D042065C7}" type="slidenum">
              <a:rPr lang="en-US"/>
              <a:pPr/>
              <a:t>‹#›</a:t>
            </a:fld>
            <a:endParaRPr lang="en-US" dirty="0"/>
          </a:p>
        </p:txBody>
      </p:sp>
      <p:sp>
        <p:nvSpPr>
          <p:cNvPr id="6" name="MIO_AGENDA_IGNORE_NAVIGATION" hidden="1">
            <a:extLst>
              <a:ext uri="{FF2B5EF4-FFF2-40B4-BE49-F238E27FC236}">
                <a16:creationId xmlns:a16="http://schemas.microsoft.com/office/drawing/2014/main" id="{BD336EDE-B888-544C-94E9-B9376B240765}"/>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7" name="MIO_AGENDA_IGNORE_CHAPTER_REFERENCE" hidden="1">
            <a:extLst>
              <a:ext uri="{FF2B5EF4-FFF2-40B4-BE49-F238E27FC236}">
                <a16:creationId xmlns:a16="http://schemas.microsoft.com/office/drawing/2014/main" id="{D009AC84-0494-FC4A-2E9A-C1B331A3F9E1}"/>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8" name="MIO_AGENDA_LAST_SLIDE" hidden="1">
            <a:extLst>
              <a:ext uri="{FF2B5EF4-FFF2-40B4-BE49-F238E27FC236}">
                <a16:creationId xmlns:a16="http://schemas.microsoft.com/office/drawing/2014/main" id="{C1A474F1-181C-468E-E482-CFC9894C2A38}"/>
              </a:ext>
            </a:extLst>
          </p:cNvPr>
          <p:cNvSpPr/>
          <p:nvPr userDrawn="1"/>
        </p:nvSpPr>
        <p:spPr>
          <a:xfrm>
            <a:off x="10849289" y="191538"/>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4093406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ANGE CIRCLE #01 - NORMAL Headline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1684825"/>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6"/>
            <a:ext cx="3687146" cy="876498"/>
          </a:xfrm>
        </p:spPr>
        <p:txBody>
          <a:bodyPr anchor="t"/>
          <a:lstStyle>
            <a:lvl1pPr>
              <a:defRPr>
                <a:latin typeface="+mj-lt"/>
              </a:defRPr>
            </a:lvl1pPr>
          </a:lstStyle>
          <a:p>
            <a:r>
              <a:rPr lang="en-US" dirty="0"/>
              <a:t>NORMAL </a:t>
            </a:r>
            <a:br>
              <a:rPr lang="en-US" dirty="0"/>
            </a:br>
            <a:r>
              <a:rPr lang="en-US" dirty="0"/>
              <a:t>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Left Content Placeholder">
            <a:extLst>
              <a:ext uri="{FF2B5EF4-FFF2-40B4-BE49-F238E27FC236}">
                <a16:creationId xmlns:a16="http://schemas.microsoft.com/office/drawing/2014/main" id="{B3B93096-4DAF-0022-8072-39E9F0673177}"/>
              </a:ext>
            </a:extLst>
          </p:cNvPr>
          <p:cNvSpPr>
            <a:spLocks noGrp="1"/>
          </p:cNvSpPr>
          <p:nvPr>
            <p:ph sz="quarter" idx="15" hasCustomPrompt="1"/>
          </p:nvPr>
        </p:nvSpPr>
        <p:spPr>
          <a:xfrm>
            <a:off x="968376" y="3628399"/>
            <a:ext cx="3687762" cy="2621590"/>
          </a:xfrm>
        </p:spPr>
        <p:txBody>
          <a:bodyPr tIns="0" rIns="0">
            <a:noAutofit/>
          </a:bodyPr>
          <a:lstStyle>
            <a:lvl1pPr marL="0" indent="0">
              <a:lnSpc>
                <a:spcPct val="120000"/>
              </a:lnSpc>
              <a:spcBef>
                <a:spcPts val="1000"/>
              </a:spcBef>
              <a:buNone/>
              <a:defRPr sz="1600">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FULL PAX*</a:t>
            </a:r>
          </a:p>
          <a:p>
            <a:pPr lvl="0"/>
            <a:r>
              <a:rPr lang="en-US" dirty="0"/>
              <a:t>PAX WEIGHT = 100 kg (220 </a:t>
            </a:r>
            <a:r>
              <a:rPr lang="en-US" dirty="0" err="1"/>
              <a:t>lb</a:t>
            </a:r>
            <a:r>
              <a:rPr lang="en-US" dirty="0"/>
              <a:t>)</a:t>
            </a:r>
          </a:p>
          <a:p>
            <a:pPr lvl="0"/>
            <a:r>
              <a:rPr lang="en-US" dirty="0"/>
              <a:t>85% ANNUAL WINDS</a:t>
            </a:r>
          </a:p>
          <a:p>
            <a:pPr lvl="0"/>
            <a:r>
              <a:rPr lang="en-US" dirty="0"/>
              <a:t>JAR RESERVES</a:t>
            </a:r>
          </a:p>
          <a:p>
            <a:pPr lvl="0"/>
            <a:r>
              <a:rPr lang="en-US" dirty="0"/>
              <a:t>100 NM ALTERNATE</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7F27611D-F4CE-46B3-8823-A901F1DCD6B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9" name="Text Placeholder 21">
            <a:extLst>
              <a:ext uri="{FF2B5EF4-FFF2-40B4-BE49-F238E27FC236}">
                <a16:creationId xmlns:a16="http://schemas.microsoft.com/office/drawing/2014/main" id="{5CFC720C-9A1D-2CB4-7423-AF96DF4E2FCA}"/>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defRPr>
            </a:lvl1pPr>
          </a:lstStyle>
          <a:p>
            <a:pPr marL="0" lvl="0"/>
            <a:r>
              <a:rPr lang="en-US" dirty="0"/>
              <a:t>(*) Single-class seating</a:t>
            </a:r>
          </a:p>
        </p:txBody>
      </p:sp>
      <p:sp>
        <p:nvSpPr>
          <p:cNvPr id="6" name="Confidential Horizontal">
            <a:extLst>
              <a:ext uri="{FF2B5EF4-FFF2-40B4-BE49-F238E27FC236}">
                <a16:creationId xmlns:a16="http://schemas.microsoft.com/office/drawing/2014/main" id="{969F4C38-E693-5E3D-BA5B-61DB5BA2F75B}"/>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Picture Placeholder 8">
            <a:extLst>
              <a:ext uri="{FF2B5EF4-FFF2-40B4-BE49-F238E27FC236}">
                <a16:creationId xmlns:a16="http://schemas.microsoft.com/office/drawing/2014/main" id="{D40F0EBB-AFFF-9F7D-C351-F8F32055CD8A}"/>
              </a:ext>
            </a:extLst>
          </p:cNvPr>
          <p:cNvSpPr>
            <a:spLocks noGrp="1"/>
          </p:cNvSpPr>
          <p:nvPr>
            <p:ph type="pic" sz="quarter" idx="24" hasCustomPrompt="1"/>
          </p:nvPr>
        </p:nvSpPr>
        <p:spPr>
          <a:xfrm>
            <a:off x="5362574" y="0"/>
            <a:ext cx="6840000" cy="6840000"/>
          </a:xfrm>
          <a:prstGeom prst="ellipse">
            <a:avLst/>
          </a:prstGeom>
          <a:blipFill>
            <a:blip r:embed="rId6">
              <a:extLst>
                <a:ext uri="{96DAC541-7B7A-43D3-8B79-37D633B846F1}">
                  <asvg:svgBlip xmlns:asvg="http://schemas.microsoft.com/office/drawing/2016/SVG/main" r:embed="rId7"/>
                </a:ext>
              </a:extLst>
            </a:blip>
            <a:stretch>
              <a:fillRect/>
            </a:stretch>
          </a:blipFill>
        </p:spPr>
        <p:txBody>
          <a:bodyPr anchor="ctr"/>
          <a:lstStyle>
            <a:lvl1pPr marL="0" indent="0" algn="ctr">
              <a:buNone/>
              <a:defRPr/>
            </a:lvl1pPr>
          </a:lstStyle>
          <a:p>
            <a:r>
              <a:rPr lang="en-US" dirty="0"/>
              <a:t>Paste the Range Circle directly here</a:t>
            </a:r>
          </a:p>
        </p:txBody>
      </p:sp>
      <p:sp>
        <p:nvSpPr>
          <p:cNvPr id="10" name="Picture Placeholder 13">
            <a:extLst>
              <a:ext uri="{FF2B5EF4-FFF2-40B4-BE49-F238E27FC236}">
                <a16:creationId xmlns:a16="http://schemas.microsoft.com/office/drawing/2014/main" id="{4DEAB113-81DC-F110-DC6C-92AD05C10FC2}"/>
              </a:ext>
            </a:extLst>
          </p:cNvPr>
          <p:cNvSpPr>
            <a:spLocks noGrp="1"/>
          </p:cNvSpPr>
          <p:nvPr>
            <p:ph type="pic" sz="quarter" idx="25" hasCustomPrompt="1"/>
          </p:nvPr>
        </p:nvSpPr>
        <p:spPr>
          <a:xfrm>
            <a:off x="1174878" y="2234134"/>
            <a:ext cx="378000" cy="342000"/>
          </a:xfrm>
          <a:blipFill>
            <a:blip r:embed="rId8">
              <a:extLst>
                <a:ext uri="{96DAC541-7B7A-43D3-8B79-37D633B846F1}">
                  <asvg:svgBlip xmlns:asvg="http://schemas.microsoft.com/office/drawing/2016/SVG/main" r:embed="rId9"/>
                </a:ext>
              </a:extLst>
            </a:blip>
            <a:stretch>
              <a:fillRect/>
            </a:stretch>
          </a:blipFill>
        </p:spPr>
        <p:txBody>
          <a:bodyPr>
            <a:normAutofit/>
          </a:bodyPr>
          <a:lstStyle>
            <a:lvl1pPr marL="0" indent="0">
              <a:buNone/>
              <a:defRPr sz="800"/>
            </a:lvl1pPr>
          </a:lstStyle>
          <a:p>
            <a:r>
              <a:rPr lang="en-US" dirty="0"/>
              <a:t>.</a:t>
            </a:r>
          </a:p>
        </p:txBody>
      </p:sp>
      <p:sp>
        <p:nvSpPr>
          <p:cNvPr id="11" name="Picture Placeholder 13">
            <a:extLst>
              <a:ext uri="{FF2B5EF4-FFF2-40B4-BE49-F238E27FC236}">
                <a16:creationId xmlns:a16="http://schemas.microsoft.com/office/drawing/2014/main" id="{A4F0DC3F-4C9B-EC45-243D-85227A642824}"/>
              </a:ext>
            </a:extLst>
          </p:cNvPr>
          <p:cNvSpPr>
            <a:spLocks noGrp="1"/>
          </p:cNvSpPr>
          <p:nvPr>
            <p:ph type="pic" sz="quarter" idx="26" hasCustomPrompt="1"/>
          </p:nvPr>
        </p:nvSpPr>
        <p:spPr>
          <a:xfrm>
            <a:off x="1174878" y="2698466"/>
            <a:ext cx="378000" cy="342000"/>
          </a:xfrm>
          <a:blipFill>
            <a:blip r:embed="rId10">
              <a:extLst>
                <a:ext uri="{96DAC541-7B7A-43D3-8B79-37D633B846F1}">
                  <asvg:svgBlip xmlns:asvg="http://schemas.microsoft.com/office/drawing/2016/SVG/main" r:embed="rId11"/>
                </a:ext>
              </a:extLst>
            </a:blip>
            <a:stretch>
              <a:fillRect/>
            </a:stretch>
          </a:blipFill>
        </p:spPr>
        <p:txBody>
          <a:bodyPr>
            <a:normAutofit/>
          </a:bodyPr>
          <a:lstStyle>
            <a:lvl1pPr marL="0" indent="0">
              <a:buNone/>
              <a:defRPr sz="800"/>
            </a:lvl1pPr>
          </a:lstStyle>
          <a:p>
            <a:r>
              <a:rPr lang="en-US" dirty="0"/>
              <a:t>.</a:t>
            </a:r>
          </a:p>
        </p:txBody>
      </p:sp>
      <p:sp>
        <p:nvSpPr>
          <p:cNvPr id="13" name="Picture Placeholder 13">
            <a:extLst>
              <a:ext uri="{FF2B5EF4-FFF2-40B4-BE49-F238E27FC236}">
                <a16:creationId xmlns:a16="http://schemas.microsoft.com/office/drawing/2014/main" id="{C9E79573-560E-55C0-DC93-239B91C5442B}"/>
              </a:ext>
            </a:extLst>
          </p:cNvPr>
          <p:cNvSpPr>
            <a:spLocks noGrp="1"/>
          </p:cNvSpPr>
          <p:nvPr>
            <p:ph type="pic" sz="quarter" idx="27" hasCustomPrompt="1"/>
          </p:nvPr>
        </p:nvSpPr>
        <p:spPr>
          <a:xfrm>
            <a:off x="1174878" y="3157514"/>
            <a:ext cx="378000" cy="342000"/>
          </a:xfrm>
          <a:blipFill>
            <a:blip r:embed="rId12">
              <a:extLst>
                <a:ext uri="{96DAC541-7B7A-43D3-8B79-37D633B846F1}">
                  <asvg:svgBlip xmlns:asvg="http://schemas.microsoft.com/office/drawing/2016/SVG/main" r:embed="rId13"/>
                </a:ext>
              </a:extLst>
            </a:blip>
            <a:stretch>
              <a:fillRect/>
            </a:stretch>
          </a:blipFill>
        </p:spPr>
        <p:txBody>
          <a:bodyPr>
            <a:normAutofit/>
          </a:bodyPr>
          <a:lstStyle>
            <a:lvl1pPr marL="0" indent="0">
              <a:buNone/>
              <a:defRPr sz="800"/>
            </a:lvl1pPr>
          </a:lstStyle>
          <a:p>
            <a:r>
              <a:rPr lang="en-US" dirty="0"/>
              <a:t>.</a:t>
            </a:r>
          </a:p>
        </p:txBody>
      </p:sp>
      <p:sp>
        <p:nvSpPr>
          <p:cNvPr id="14" name="Text Placeholder 25">
            <a:extLst>
              <a:ext uri="{FF2B5EF4-FFF2-40B4-BE49-F238E27FC236}">
                <a16:creationId xmlns:a16="http://schemas.microsoft.com/office/drawing/2014/main" id="{216F3A81-E360-357E-4D04-EBFFEB3C0BD5}"/>
              </a:ext>
            </a:extLst>
          </p:cNvPr>
          <p:cNvSpPr>
            <a:spLocks noGrp="1"/>
          </p:cNvSpPr>
          <p:nvPr>
            <p:ph type="body" sz="quarter" idx="22" hasCustomPrompt="1"/>
          </p:nvPr>
        </p:nvSpPr>
        <p:spPr>
          <a:xfrm>
            <a:off x="1654136" y="2216134"/>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15" name="Text Placeholder 25">
            <a:extLst>
              <a:ext uri="{FF2B5EF4-FFF2-40B4-BE49-F238E27FC236}">
                <a16:creationId xmlns:a16="http://schemas.microsoft.com/office/drawing/2014/main" id="{610BB5B3-4FC6-58FC-BF7A-6F835C114932}"/>
              </a:ext>
            </a:extLst>
          </p:cNvPr>
          <p:cNvSpPr>
            <a:spLocks noGrp="1"/>
          </p:cNvSpPr>
          <p:nvPr>
            <p:ph type="body" sz="quarter" idx="28" hasCustomPrompt="1"/>
          </p:nvPr>
        </p:nvSpPr>
        <p:spPr>
          <a:xfrm>
            <a:off x="1654136" y="2684807"/>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16" name="Text Placeholder 25">
            <a:extLst>
              <a:ext uri="{FF2B5EF4-FFF2-40B4-BE49-F238E27FC236}">
                <a16:creationId xmlns:a16="http://schemas.microsoft.com/office/drawing/2014/main" id="{02840A79-50A0-B0C8-38FE-A3638CD60512}"/>
              </a:ext>
            </a:extLst>
          </p:cNvPr>
          <p:cNvSpPr>
            <a:spLocks noGrp="1"/>
          </p:cNvSpPr>
          <p:nvPr>
            <p:ph type="body" sz="quarter" idx="29" hasCustomPrompt="1"/>
          </p:nvPr>
        </p:nvSpPr>
        <p:spPr>
          <a:xfrm>
            <a:off x="1654136" y="3151350"/>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4" name="Logo Placeholder 30">
            <a:extLst>
              <a:ext uri="{FF2B5EF4-FFF2-40B4-BE49-F238E27FC236}">
                <a16:creationId xmlns:a16="http://schemas.microsoft.com/office/drawing/2014/main" id="{D8C37175-AB72-27A1-B542-FB8326F23177}"/>
              </a:ext>
            </a:extLst>
          </p:cNvPr>
          <p:cNvSpPr txBox="1">
            <a:spLocks/>
          </p:cNvSpPr>
          <p:nvPr userDrawn="1">
            <p:custDataLst>
              <p:tags r:id="rId3"/>
            </p:custDataLst>
          </p:nvPr>
        </p:nvSpPr>
        <p:spPr>
          <a:xfrm>
            <a:off x="11827011" y="223406"/>
            <a:ext cx="179699" cy="179673"/>
          </a:xfrm>
          <a:prstGeom prst="rect">
            <a:avLst/>
          </a:prstGeom>
          <a:blipFill>
            <a:blip r:embed="rId14">
              <a:extLst>
                <a:ext uri="{96DAC541-7B7A-43D3-8B79-37D633B846F1}">
                  <asvg:svgBlip xmlns:asvg="http://schemas.microsoft.com/office/drawing/2016/SVG/main" r:embed="rId15"/>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7" name="Business Unit Placeholder 28">
            <a:extLst>
              <a:ext uri="{FF2B5EF4-FFF2-40B4-BE49-F238E27FC236}">
                <a16:creationId xmlns:a16="http://schemas.microsoft.com/office/drawing/2014/main" id="{786B2C9A-F4FF-6FB2-D374-87C84F165B94}"/>
              </a:ext>
            </a:extLst>
          </p:cNvPr>
          <p:cNvSpPr txBox="1">
            <a:spLocks/>
          </p:cNvSpPr>
          <p:nvPr userDrawn="1">
            <p:custDataLst>
              <p:tags r:id="rId4"/>
            </p:custDataLst>
          </p:nvPr>
        </p:nvSpPr>
        <p:spPr>
          <a:xfrm>
            <a:off x="196779" y="200856"/>
            <a:ext cx="714096" cy="283877"/>
          </a:xfrm>
          <a:prstGeom prst="rect">
            <a:avLst/>
          </a:prstGeom>
          <a:blipFill>
            <a:blip r:embed="rId16">
              <a:extLst>
                <a:ext uri="{96DAC541-7B7A-43D3-8B79-37D633B846F1}">
                  <asvg:svgBlip xmlns:asvg="http://schemas.microsoft.com/office/drawing/2016/SVG/main" r:embed="rId17"/>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1436377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ANGE CIRCLE #01 - LARGE Headline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400"/>
            <a:ext cx="3687146" cy="992186"/>
          </a:xfrm>
        </p:spPr>
        <p:txBody>
          <a:bodyPr anchor="t"/>
          <a:lstStyle>
            <a:lvl1pPr>
              <a:lnSpc>
                <a:spcPct val="80000"/>
              </a:lnSpc>
              <a:defRPr sz="4400">
                <a:latin typeface="+mj-lt"/>
              </a:defRPr>
            </a:lvl1pPr>
          </a:lstStyle>
          <a:p>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E0B35B70-0CFF-487C-AB4C-821080D2CAA0}"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6" name="Confidential Horizontal">
            <a:extLst>
              <a:ext uri="{FF2B5EF4-FFF2-40B4-BE49-F238E27FC236}">
                <a16:creationId xmlns:a16="http://schemas.microsoft.com/office/drawing/2014/main" id="{3BE882FA-B1F6-BB14-4A99-8B57BCE70E1E}"/>
              </a:ext>
            </a:extLst>
          </p:cNvPr>
          <p:cNvSpPr/>
          <p:nvPr userDrawn="1">
            <p:custDataLst>
              <p:tags r:id="rId2"/>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8" name="Left Content Placeholder">
            <a:extLst>
              <a:ext uri="{FF2B5EF4-FFF2-40B4-BE49-F238E27FC236}">
                <a16:creationId xmlns:a16="http://schemas.microsoft.com/office/drawing/2014/main" id="{6A2FC7E7-70F8-A4DA-4369-FFA28B142151}"/>
              </a:ext>
            </a:extLst>
          </p:cNvPr>
          <p:cNvSpPr>
            <a:spLocks noGrp="1"/>
          </p:cNvSpPr>
          <p:nvPr>
            <p:ph sz="quarter" idx="15" hasCustomPrompt="1"/>
          </p:nvPr>
        </p:nvSpPr>
        <p:spPr>
          <a:xfrm>
            <a:off x="968376" y="4237999"/>
            <a:ext cx="3687762" cy="2011989"/>
          </a:xfrm>
        </p:spPr>
        <p:txBody>
          <a:bodyPr tIns="0" rIns="0">
            <a:normAutofit/>
          </a:bodyPr>
          <a:lstStyle>
            <a:lvl1pPr marL="0" indent="0">
              <a:lnSpc>
                <a:spcPct val="120000"/>
              </a:lnSpc>
              <a:spcBef>
                <a:spcPts val="1000"/>
              </a:spcBef>
              <a:buNone/>
              <a:defRPr sz="1600">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dirty="0"/>
              <a:t>FULL PAX*</a:t>
            </a:r>
          </a:p>
          <a:p>
            <a:pPr lvl="0"/>
            <a:r>
              <a:rPr lang="en-US" dirty="0"/>
              <a:t>PAX WEIGHT = 100 kg (220 </a:t>
            </a:r>
            <a:r>
              <a:rPr lang="en-US" dirty="0" err="1"/>
              <a:t>lb</a:t>
            </a:r>
            <a:r>
              <a:rPr lang="en-US" dirty="0"/>
              <a:t>)</a:t>
            </a:r>
          </a:p>
          <a:p>
            <a:pPr lvl="0"/>
            <a:r>
              <a:rPr lang="en-US" dirty="0"/>
              <a:t>85% ANNUAL WINDS</a:t>
            </a:r>
          </a:p>
          <a:p>
            <a:pPr lvl="0"/>
            <a:r>
              <a:rPr lang="en-US" dirty="0"/>
              <a:t>JAR RESERVES</a:t>
            </a:r>
          </a:p>
          <a:p>
            <a:pPr lvl="0"/>
            <a:r>
              <a:rPr lang="en-US" dirty="0"/>
              <a:t>100 NM ALTERNATE</a:t>
            </a:r>
          </a:p>
        </p:txBody>
      </p:sp>
      <p:sp>
        <p:nvSpPr>
          <p:cNvPr id="10" name="Picture Placeholder 8">
            <a:extLst>
              <a:ext uri="{FF2B5EF4-FFF2-40B4-BE49-F238E27FC236}">
                <a16:creationId xmlns:a16="http://schemas.microsoft.com/office/drawing/2014/main" id="{A51F2EF4-AA2E-6298-7990-285E811FE62A}"/>
              </a:ext>
            </a:extLst>
          </p:cNvPr>
          <p:cNvSpPr>
            <a:spLocks noGrp="1"/>
          </p:cNvSpPr>
          <p:nvPr>
            <p:ph type="pic" sz="quarter" idx="24" hasCustomPrompt="1"/>
          </p:nvPr>
        </p:nvSpPr>
        <p:spPr>
          <a:xfrm>
            <a:off x="5375275" y="9000"/>
            <a:ext cx="6840000" cy="6840000"/>
          </a:xfrm>
          <a:prstGeom prst="ellipse">
            <a:avLst/>
          </a:prstGeom>
          <a:blipFill>
            <a:blip r:embed="rId6">
              <a:extLst>
                <a:ext uri="{96DAC541-7B7A-43D3-8B79-37D633B846F1}">
                  <asvg:svgBlip xmlns:asvg="http://schemas.microsoft.com/office/drawing/2016/SVG/main" r:embed="rId7"/>
                </a:ext>
              </a:extLst>
            </a:blip>
            <a:stretch>
              <a:fillRect/>
            </a:stretch>
          </a:blipFill>
        </p:spPr>
        <p:txBody>
          <a:bodyPr anchor="ctr"/>
          <a:lstStyle>
            <a:lvl1pPr marL="0" indent="0" algn="ctr">
              <a:buNone/>
              <a:defRPr/>
            </a:lvl1pPr>
          </a:lstStyle>
          <a:p>
            <a:r>
              <a:rPr lang="en-US" dirty="0"/>
              <a:t>Paste the Range Circle directly here</a:t>
            </a:r>
          </a:p>
        </p:txBody>
      </p:sp>
      <p:sp>
        <p:nvSpPr>
          <p:cNvPr id="11" name="Picture Placeholder 13">
            <a:extLst>
              <a:ext uri="{FF2B5EF4-FFF2-40B4-BE49-F238E27FC236}">
                <a16:creationId xmlns:a16="http://schemas.microsoft.com/office/drawing/2014/main" id="{65E34FC1-9D1F-DE90-BED7-EBDD646E5AE4}"/>
              </a:ext>
            </a:extLst>
          </p:cNvPr>
          <p:cNvSpPr>
            <a:spLocks noGrp="1"/>
          </p:cNvSpPr>
          <p:nvPr>
            <p:ph type="pic" sz="quarter" idx="25" hasCustomPrompt="1"/>
          </p:nvPr>
        </p:nvSpPr>
        <p:spPr>
          <a:xfrm>
            <a:off x="1174878" y="2843734"/>
            <a:ext cx="378000" cy="342000"/>
          </a:xfrm>
          <a:blipFill>
            <a:blip r:embed="rId8">
              <a:extLst>
                <a:ext uri="{96DAC541-7B7A-43D3-8B79-37D633B846F1}">
                  <asvg:svgBlip xmlns:asvg="http://schemas.microsoft.com/office/drawing/2016/SVG/main" r:embed="rId9"/>
                </a:ext>
              </a:extLst>
            </a:blip>
            <a:stretch>
              <a:fillRect/>
            </a:stretch>
          </a:blipFill>
        </p:spPr>
        <p:txBody>
          <a:bodyPr>
            <a:normAutofit/>
          </a:bodyPr>
          <a:lstStyle>
            <a:lvl1pPr marL="0" indent="0">
              <a:buNone/>
              <a:defRPr sz="800"/>
            </a:lvl1pPr>
          </a:lstStyle>
          <a:p>
            <a:r>
              <a:rPr lang="en-US" dirty="0"/>
              <a:t>.</a:t>
            </a:r>
          </a:p>
        </p:txBody>
      </p:sp>
      <p:sp>
        <p:nvSpPr>
          <p:cNvPr id="13" name="Picture Placeholder 13">
            <a:extLst>
              <a:ext uri="{FF2B5EF4-FFF2-40B4-BE49-F238E27FC236}">
                <a16:creationId xmlns:a16="http://schemas.microsoft.com/office/drawing/2014/main" id="{8E11EDA3-4E08-E0D2-DCFD-D7DB5A082BAF}"/>
              </a:ext>
            </a:extLst>
          </p:cNvPr>
          <p:cNvSpPr>
            <a:spLocks noGrp="1"/>
          </p:cNvSpPr>
          <p:nvPr>
            <p:ph type="pic" sz="quarter" idx="26" hasCustomPrompt="1"/>
          </p:nvPr>
        </p:nvSpPr>
        <p:spPr>
          <a:xfrm>
            <a:off x="1174878" y="3308066"/>
            <a:ext cx="378000" cy="342000"/>
          </a:xfrm>
          <a:blipFill>
            <a:blip r:embed="rId10">
              <a:extLst>
                <a:ext uri="{96DAC541-7B7A-43D3-8B79-37D633B846F1}">
                  <asvg:svgBlip xmlns:asvg="http://schemas.microsoft.com/office/drawing/2016/SVG/main" r:embed="rId11"/>
                </a:ext>
              </a:extLst>
            </a:blip>
            <a:stretch>
              <a:fillRect/>
            </a:stretch>
          </a:blipFill>
        </p:spPr>
        <p:txBody>
          <a:bodyPr>
            <a:normAutofit/>
          </a:bodyPr>
          <a:lstStyle>
            <a:lvl1pPr marL="0" indent="0">
              <a:buNone/>
              <a:defRPr sz="800"/>
            </a:lvl1pPr>
          </a:lstStyle>
          <a:p>
            <a:r>
              <a:rPr lang="en-US" dirty="0"/>
              <a:t>.</a:t>
            </a:r>
          </a:p>
        </p:txBody>
      </p:sp>
      <p:sp>
        <p:nvSpPr>
          <p:cNvPr id="14" name="Picture Placeholder 13">
            <a:extLst>
              <a:ext uri="{FF2B5EF4-FFF2-40B4-BE49-F238E27FC236}">
                <a16:creationId xmlns:a16="http://schemas.microsoft.com/office/drawing/2014/main" id="{F4AB1C46-2D59-90C8-4719-D5FC41CCB6B6}"/>
              </a:ext>
            </a:extLst>
          </p:cNvPr>
          <p:cNvSpPr>
            <a:spLocks noGrp="1"/>
          </p:cNvSpPr>
          <p:nvPr>
            <p:ph type="pic" sz="quarter" idx="27" hasCustomPrompt="1"/>
          </p:nvPr>
        </p:nvSpPr>
        <p:spPr>
          <a:xfrm>
            <a:off x="1174878" y="3767114"/>
            <a:ext cx="378000" cy="342000"/>
          </a:xfrm>
          <a:blipFill>
            <a:blip r:embed="rId12">
              <a:extLst>
                <a:ext uri="{96DAC541-7B7A-43D3-8B79-37D633B846F1}">
                  <asvg:svgBlip xmlns:asvg="http://schemas.microsoft.com/office/drawing/2016/SVG/main" r:embed="rId13"/>
                </a:ext>
              </a:extLst>
            </a:blip>
            <a:stretch>
              <a:fillRect/>
            </a:stretch>
          </a:blipFill>
        </p:spPr>
        <p:txBody>
          <a:bodyPr>
            <a:normAutofit/>
          </a:bodyPr>
          <a:lstStyle>
            <a:lvl1pPr marL="0" indent="0">
              <a:buNone/>
              <a:defRPr sz="800"/>
            </a:lvl1pPr>
          </a:lstStyle>
          <a:p>
            <a:r>
              <a:rPr lang="en-US" dirty="0"/>
              <a:t>.</a:t>
            </a:r>
          </a:p>
        </p:txBody>
      </p:sp>
      <p:sp>
        <p:nvSpPr>
          <p:cNvPr id="15" name="Text Placeholder 25">
            <a:extLst>
              <a:ext uri="{FF2B5EF4-FFF2-40B4-BE49-F238E27FC236}">
                <a16:creationId xmlns:a16="http://schemas.microsoft.com/office/drawing/2014/main" id="{7A0C4779-BF99-5DDB-342F-7ED29744B2CF}"/>
              </a:ext>
            </a:extLst>
          </p:cNvPr>
          <p:cNvSpPr>
            <a:spLocks noGrp="1"/>
          </p:cNvSpPr>
          <p:nvPr>
            <p:ph type="body" sz="quarter" idx="22" hasCustomPrompt="1"/>
          </p:nvPr>
        </p:nvSpPr>
        <p:spPr>
          <a:xfrm>
            <a:off x="1654136" y="2825734"/>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16" name="Text Placeholder 25">
            <a:extLst>
              <a:ext uri="{FF2B5EF4-FFF2-40B4-BE49-F238E27FC236}">
                <a16:creationId xmlns:a16="http://schemas.microsoft.com/office/drawing/2014/main" id="{44CB27DE-A62D-273C-B4BF-04AC331D3161}"/>
              </a:ext>
            </a:extLst>
          </p:cNvPr>
          <p:cNvSpPr>
            <a:spLocks noGrp="1"/>
          </p:cNvSpPr>
          <p:nvPr>
            <p:ph type="body" sz="quarter" idx="28" hasCustomPrompt="1"/>
          </p:nvPr>
        </p:nvSpPr>
        <p:spPr>
          <a:xfrm>
            <a:off x="1654136" y="3294407"/>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17" name="Text Placeholder 25">
            <a:extLst>
              <a:ext uri="{FF2B5EF4-FFF2-40B4-BE49-F238E27FC236}">
                <a16:creationId xmlns:a16="http://schemas.microsoft.com/office/drawing/2014/main" id="{BF572EA2-BDE8-2DFD-0389-72897B73D24A}"/>
              </a:ext>
            </a:extLst>
          </p:cNvPr>
          <p:cNvSpPr>
            <a:spLocks noGrp="1"/>
          </p:cNvSpPr>
          <p:nvPr>
            <p:ph type="body" sz="quarter" idx="29" hasCustomPrompt="1"/>
          </p:nvPr>
        </p:nvSpPr>
        <p:spPr>
          <a:xfrm>
            <a:off x="1654136" y="3760950"/>
            <a:ext cx="2160000" cy="360000"/>
          </a:xfrm>
          <a:noFill/>
          <a:ln>
            <a:noFill/>
          </a:ln>
        </p:spPr>
        <p:txBody>
          <a:bodyPr wrap="square" anchor="ctr">
            <a:noAutofit/>
          </a:bodyPr>
          <a:lstStyle>
            <a:lvl1pPr marL="0" indent="0">
              <a:buNone/>
              <a:defRPr lang="en-US"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IRCRAFT</a:t>
            </a:r>
          </a:p>
        </p:txBody>
      </p:sp>
      <p:sp>
        <p:nvSpPr>
          <p:cNvPr id="18" name="Text Placeholder 21">
            <a:extLst>
              <a:ext uri="{FF2B5EF4-FFF2-40B4-BE49-F238E27FC236}">
                <a16:creationId xmlns:a16="http://schemas.microsoft.com/office/drawing/2014/main" id="{341CD3D9-19B8-5D2C-49CF-477FE242AF30}"/>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 Single-class seating</a:t>
            </a:r>
          </a:p>
        </p:txBody>
      </p:sp>
      <p:sp>
        <p:nvSpPr>
          <p:cNvPr id="4" name="Logo Placeholder 30">
            <a:extLst>
              <a:ext uri="{FF2B5EF4-FFF2-40B4-BE49-F238E27FC236}">
                <a16:creationId xmlns:a16="http://schemas.microsoft.com/office/drawing/2014/main" id="{47516564-2865-69A3-1F30-D3DC5409697F}"/>
              </a:ext>
            </a:extLst>
          </p:cNvPr>
          <p:cNvSpPr txBox="1">
            <a:spLocks/>
          </p:cNvSpPr>
          <p:nvPr userDrawn="1">
            <p:custDataLst>
              <p:tags r:id="rId3"/>
            </p:custDataLst>
          </p:nvPr>
        </p:nvSpPr>
        <p:spPr>
          <a:xfrm>
            <a:off x="11827011" y="223406"/>
            <a:ext cx="179699" cy="179673"/>
          </a:xfrm>
          <a:prstGeom prst="rect">
            <a:avLst/>
          </a:prstGeom>
          <a:blipFill>
            <a:blip r:embed="rId14">
              <a:extLst>
                <a:ext uri="{96DAC541-7B7A-43D3-8B79-37D633B846F1}">
                  <asvg:svgBlip xmlns:asvg="http://schemas.microsoft.com/office/drawing/2016/SVG/main" r:embed="rId15"/>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9" name="Business Unit Placeholder 28">
            <a:extLst>
              <a:ext uri="{FF2B5EF4-FFF2-40B4-BE49-F238E27FC236}">
                <a16:creationId xmlns:a16="http://schemas.microsoft.com/office/drawing/2014/main" id="{EE1C7453-AF3E-E968-E53C-B8179E8E1649}"/>
              </a:ext>
            </a:extLst>
          </p:cNvPr>
          <p:cNvSpPr txBox="1">
            <a:spLocks/>
          </p:cNvSpPr>
          <p:nvPr userDrawn="1">
            <p:custDataLst>
              <p:tags r:id="rId4"/>
            </p:custDataLst>
          </p:nvPr>
        </p:nvSpPr>
        <p:spPr>
          <a:xfrm>
            <a:off x="196779" y="200856"/>
            <a:ext cx="714096" cy="283877"/>
          </a:xfrm>
          <a:prstGeom prst="rect">
            <a:avLst/>
          </a:prstGeom>
          <a:blipFill>
            <a:blip r:embed="rId16">
              <a:extLst>
                <a:ext uri="{96DAC541-7B7A-43D3-8B79-37D633B846F1}">
                  <asvg:svgBlip xmlns:asvg="http://schemas.microsoft.com/office/drawing/2016/SVG/main" r:embed="rId17"/>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2700174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ANGE CIRCLE #02 - NORMAL Headline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1684825"/>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755176"/>
            <a:ext cx="3687146" cy="876498"/>
          </a:xfrm>
        </p:spPr>
        <p:txBody>
          <a:bodyPr anchor="t"/>
          <a:lstStyle>
            <a:lvl1pPr>
              <a:defRPr>
                <a:latin typeface="+mj-lt"/>
              </a:defRPr>
            </a:lvl1pPr>
          </a:lstStyle>
          <a:p>
            <a:r>
              <a:rPr lang="en-US" dirty="0"/>
              <a:t>NORMAL </a:t>
            </a:r>
            <a:br>
              <a:rPr lang="en-US" dirty="0"/>
            </a:br>
            <a:r>
              <a:rPr lang="en-US" dirty="0"/>
              <a:t>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5B1C85FA-27B4-4175-B06C-1AD809973CB8}"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8" name="Picture Placeholder 8">
            <a:extLst>
              <a:ext uri="{FF2B5EF4-FFF2-40B4-BE49-F238E27FC236}">
                <a16:creationId xmlns:a16="http://schemas.microsoft.com/office/drawing/2014/main" id="{D40F0EBB-AFFF-9F7D-C351-F8F32055CD8A}"/>
              </a:ext>
            </a:extLst>
          </p:cNvPr>
          <p:cNvSpPr>
            <a:spLocks noGrp="1"/>
          </p:cNvSpPr>
          <p:nvPr>
            <p:ph type="pic" sz="quarter" idx="24" hasCustomPrompt="1"/>
          </p:nvPr>
        </p:nvSpPr>
        <p:spPr>
          <a:xfrm>
            <a:off x="5746083" y="763514"/>
            <a:ext cx="5472000" cy="5472000"/>
          </a:xfrm>
          <a:prstGeom prst="ellipse">
            <a:avLst/>
          </a:prstGeom>
          <a:blipFill>
            <a:blip r:embed="rId6">
              <a:extLst>
                <a:ext uri="{96DAC541-7B7A-43D3-8B79-37D633B846F1}">
                  <asvg:svgBlip xmlns:asvg="http://schemas.microsoft.com/office/drawing/2016/SVG/main" r:embed="rId7"/>
                </a:ext>
              </a:extLst>
            </a:blip>
            <a:stretch>
              <a:fillRect/>
            </a:stretch>
          </a:blipFill>
        </p:spPr>
        <p:txBody>
          <a:bodyPr anchor="ctr"/>
          <a:lstStyle>
            <a:lvl1pPr marL="0" indent="0" algn="ctr">
              <a:buNone/>
              <a:defRPr>
                <a:latin typeface="+mn-lt"/>
              </a:defRPr>
            </a:lvl1pPr>
          </a:lstStyle>
          <a:p>
            <a:r>
              <a:rPr lang="en-US" dirty="0"/>
              <a:t>Paste the Range Circle directly here</a:t>
            </a:r>
          </a:p>
        </p:txBody>
      </p:sp>
      <p:sp>
        <p:nvSpPr>
          <p:cNvPr id="4" name="Left Content Placeholder">
            <a:extLst>
              <a:ext uri="{FF2B5EF4-FFF2-40B4-BE49-F238E27FC236}">
                <a16:creationId xmlns:a16="http://schemas.microsoft.com/office/drawing/2014/main" id="{8AD3A6A1-EF44-BAD9-2EDB-AF14898808E8}"/>
              </a:ext>
            </a:extLst>
          </p:cNvPr>
          <p:cNvSpPr>
            <a:spLocks noGrp="1"/>
          </p:cNvSpPr>
          <p:nvPr>
            <p:ph sz="quarter" idx="15"/>
          </p:nvPr>
        </p:nvSpPr>
        <p:spPr>
          <a:xfrm>
            <a:off x="968376" y="2108198"/>
            <a:ext cx="3687762" cy="3350687"/>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9" name="Text Placeholder 21">
            <a:extLst>
              <a:ext uri="{FF2B5EF4-FFF2-40B4-BE49-F238E27FC236}">
                <a16:creationId xmlns:a16="http://schemas.microsoft.com/office/drawing/2014/main" id="{5CFC720C-9A1D-2CB4-7423-AF96DF4E2FCA}"/>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 Single-class seating</a:t>
            </a:r>
          </a:p>
        </p:txBody>
      </p:sp>
      <p:sp>
        <p:nvSpPr>
          <p:cNvPr id="17" name="Picture Placeholder 13">
            <a:extLst>
              <a:ext uri="{FF2B5EF4-FFF2-40B4-BE49-F238E27FC236}">
                <a16:creationId xmlns:a16="http://schemas.microsoft.com/office/drawing/2014/main" id="{666BF419-5A42-47E0-29C4-F59C7503E156}"/>
              </a:ext>
            </a:extLst>
          </p:cNvPr>
          <p:cNvSpPr>
            <a:spLocks noGrp="1"/>
          </p:cNvSpPr>
          <p:nvPr>
            <p:ph type="pic" sz="quarter" idx="25" hasCustomPrompt="1"/>
          </p:nvPr>
        </p:nvSpPr>
        <p:spPr>
          <a:xfrm>
            <a:off x="971678" y="5537192"/>
            <a:ext cx="360000" cy="360000"/>
          </a:xfrm>
          <a:blipFill>
            <a:blip r:embed="rId8">
              <a:extLst>
                <a:ext uri="{96DAC541-7B7A-43D3-8B79-37D633B846F1}">
                  <asvg:svgBlip xmlns:asvg="http://schemas.microsoft.com/office/drawing/2016/SVG/main" r:embed="rId9"/>
                </a:ext>
              </a:extLst>
            </a:blip>
            <a:stretch>
              <a:fillRect/>
            </a:stretch>
          </a:blipFill>
        </p:spPr>
        <p:txBody>
          <a:bodyPr>
            <a:normAutofit/>
          </a:bodyPr>
          <a:lstStyle>
            <a:lvl1pPr marL="0" indent="0">
              <a:buNone/>
              <a:defRPr sz="800"/>
            </a:lvl1pPr>
          </a:lstStyle>
          <a:p>
            <a:r>
              <a:rPr lang="en-US" dirty="0"/>
              <a:t>.</a:t>
            </a:r>
          </a:p>
        </p:txBody>
      </p:sp>
      <p:sp>
        <p:nvSpPr>
          <p:cNvPr id="18" name="Picture Placeholder 13">
            <a:extLst>
              <a:ext uri="{FF2B5EF4-FFF2-40B4-BE49-F238E27FC236}">
                <a16:creationId xmlns:a16="http://schemas.microsoft.com/office/drawing/2014/main" id="{1F09683D-7C8C-968A-914A-C1965AE1F628}"/>
              </a:ext>
            </a:extLst>
          </p:cNvPr>
          <p:cNvSpPr>
            <a:spLocks noGrp="1"/>
          </p:cNvSpPr>
          <p:nvPr>
            <p:ph type="pic" sz="quarter" idx="26" hasCustomPrompt="1"/>
          </p:nvPr>
        </p:nvSpPr>
        <p:spPr>
          <a:xfrm>
            <a:off x="2229152" y="5537192"/>
            <a:ext cx="360000" cy="360000"/>
          </a:xfrm>
          <a:blipFill>
            <a:blip r:embed="rId10">
              <a:extLst>
                <a:ext uri="{96DAC541-7B7A-43D3-8B79-37D633B846F1}">
                  <asvg:svgBlip xmlns:asvg="http://schemas.microsoft.com/office/drawing/2016/SVG/main" r:embed="rId11"/>
                </a:ext>
              </a:extLst>
            </a:blip>
            <a:stretch>
              <a:fillRect/>
            </a:stretch>
          </a:blipFill>
        </p:spPr>
        <p:txBody>
          <a:bodyPr>
            <a:normAutofit/>
          </a:bodyPr>
          <a:lstStyle>
            <a:lvl1pPr marL="0" indent="0">
              <a:buNone/>
              <a:defRPr sz="800"/>
            </a:lvl1pPr>
          </a:lstStyle>
          <a:p>
            <a:r>
              <a:rPr lang="en-US" dirty="0"/>
              <a:t>.</a:t>
            </a:r>
          </a:p>
        </p:txBody>
      </p:sp>
      <p:sp>
        <p:nvSpPr>
          <p:cNvPr id="19" name="Picture Placeholder 13">
            <a:extLst>
              <a:ext uri="{FF2B5EF4-FFF2-40B4-BE49-F238E27FC236}">
                <a16:creationId xmlns:a16="http://schemas.microsoft.com/office/drawing/2014/main" id="{17E1CCCA-ADC2-7B84-3A25-F7353D760EF4}"/>
              </a:ext>
            </a:extLst>
          </p:cNvPr>
          <p:cNvSpPr>
            <a:spLocks noGrp="1"/>
          </p:cNvSpPr>
          <p:nvPr>
            <p:ph type="pic" sz="quarter" idx="27" hasCustomPrompt="1"/>
          </p:nvPr>
        </p:nvSpPr>
        <p:spPr>
          <a:xfrm>
            <a:off x="3486625" y="5537192"/>
            <a:ext cx="360000" cy="360000"/>
          </a:xfrm>
          <a:blipFill>
            <a:blip r:embed="rId12">
              <a:extLst>
                <a:ext uri="{96DAC541-7B7A-43D3-8B79-37D633B846F1}">
                  <asvg:svgBlip xmlns:asvg="http://schemas.microsoft.com/office/drawing/2016/SVG/main" r:embed="rId13"/>
                </a:ext>
              </a:extLst>
            </a:blip>
            <a:stretch>
              <a:fillRect/>
            </a:stretch>
          </a:blipFill>
        </p:spPr>
        <p:txBody>
          <a:bodyPr>
            <a:normAutofit/>
          </a:bodyPr>
          <a:lstStyle>
            <a:lvl1pPr marL="0" indent="0">
              <a:buNone/>
              <a:defRPr sz="800"/>
            </a:lvl1pPr>
          </a:lstStyle>
          <a:p>
            <a:r>
              <a:rPr lang="en-US" dirty="0"/>
              <a:t>.</a:t>
            </a:r>
          </a:p>
        </p:txBody>
      </p:sp>
      <p:sp>
        <p:nvSpPr>
          <p:cNvPr id="20" name="Text Placeholder 25">
            <a:extLst>
              <a:ext uri="{FF2B5EF4-FFF2-40B4-BE49-F238E27FC236}">
                <a16:creationId xmlns:a16="http://schemas.microsoft.com/office/drawing/2014/main" id="{257D4F8D-9F01-3512-BAD5-A05866D5104F}"/>
              </a:ext>
            </a:extLst>
          </p:cNvPr>
          <p:cNvSpPr>
            <a:spLocks noGrp="1"/>
          </p:cNvSpPr>
          <p:nvPr>
            <p:ph type="body" sz="quarter" idx="22" hasCustomPrompt="1"/>
          </p:nvPr>
        </p:nvSpPr>
        <p:spPr>
          <a:xfrm>
            <a:off x="1369778"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1</a:t>
            </a:r>
          </a:p>
        </p:txBody>
      </p:sp>
      <p:sp>
        <p:nvSpPr>
          <p:cNvPr id="21" name="Text Placeholder 25">
            <a:extLst>
              <a:ext uri="{FF2B5EF4-FFF2-40B4-BE49-F238E27FC236}">
                <a16:creationId xmlns:a16="http://schemas.microsoft.com/office/drawing/2014/main" id="{C2B04F45-8081-6CD8-6277-FAC89062E961}"/>
              </a:ext>
            </a:extLst>
          </p:cNvPr>
          <p:cNvSpPr>
            <a:spLocks noGrp="1"/>
          </p:cNvSpPr>
          <p:nvPr>
            <p:ph type="body" sz="quarter" idx="28" hasCustomPrompt="1"/>
          </p:nvPr>
        </p:nvSpPr>
        <p:spPr>
          <a:xfrm>
            <a:off x="2627251"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2</a:t>
            </a:r>
          </a:p>
        </p:txBody>
      </p:sp>
      <p:sp>
        <p:nvSpPr>
          <p:cNvPr id="22" name="Text Placeholder 25">
            <a:extLst>
              <a:ext uri="{FF2B5EF4-FFF2-40B4-BE49-F238E27FC236}">
                <a16:creationId xmlns:a16="http://schemas.microsoft.com/office/drawing/2014/main" id="{A15A0141-9B6F-2D6D-DED6-640962C04E4F}"/>
              </a:ext>
            </a:extLst>
          </p:cNvPr>
          <p:cNvSpPr>
            <a:spLocks noGrp="1"/>
          </p:cNvSpPr>
          <p:nvPr>
            <p:ph type="body" sz="quarter" idx="29" hasCustomPrompt="1"/>
          </p:nvPr>
        </p:nvSpPr>
        <p:spPr>
          <a:xfrm>
            <a:off x="3884726"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3</a:t>
            </a:r>
          </a:p>
        </p:txBody>
      </p:sp>
      <p:sp>
        <p:nvSpPr>
          <p:cNvPr id="23" name="Rectangle 22">
            <a:extLst>
              <a:ext uri="{FF2B5EF4-FFF2-40B4-BE49-F238E27FC236}">
                <a16:creationId xmlns:a16="http://schemas.microsoft.com/office/drawing/2014/main" id="{6DE9D6B9-429C-7966-C6B0-CFAEF306A863}"/>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6" name="Logo Placeholder 30">
            <a:extLst>
              <a:ext uri="{FF2B5EF4-FFF2-40B4-BE49-F238E27FC236}">
                <a16:creationId xmlns:a16="http://schemas.microsoft.com/office/drawing/2014/main" id="{74C0E56B-4D9C-BA10-9DE4-EC3DB40A371E}"/>
              </a:ext>
            </a:extLst>
          </p:cNvPr>
          <p:cNvSpPr txBox="1">
            <a:spLocks/>
          </p:cNvSpPr>
          <p:nvPr userDrawn="1">
            <p:custDataLst>
              <p:tags r:id="rId3"/>
            </p:custDataLst>
          </p:nvPr>
        </p:nvSpPr>
        <p:spPr>
          <a:xfrm>
            <a:off x="11827011" y="223406"/>
            <a:ext cx="179699" cy="179673"/>
          </a:xfrm>
          <a:prstGeom prst="rect">
            <a:avLst/>
          </a:prstGeom>
          <a:blipFill>
            <a:blip r:embed="rId14">
              <a:extLst>
                <a:ext uri="{96DAC541-7B7A-43D3-8B79-37D633B846F1}">
                  <asvg:svgBlip xmlns:asvg="http://schemas.microsoft.com/office/drawing/2016/SVG/main" r:embed="rId15"/>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0" name="Business Unit Placeholder 28">
            <a:extLst>
              <a:ext uri="{FF2B5EF4-FFF2-40B4-BE49-F238E27FC236}">
                <a16:creationId xmlns:a16="http://schemas.microsoft.com/office/drawing/2014/main" id="{3782E971-798F-EFA1-9538-7815AF11FC8B}"/>
              </a:ext>
            </a:extLst>
          </p:cNvPr>
          <p:cNvSpPr txBox="1">
            <a:spLocks/>
          </p:cNvSpPr>
          <p:nvPr userDrawn="1">
            <p:custDataLst>
              <p:tags r:id="rId4"/>
            </p:custDataLst>
          </p:nvPr>
        </p:nvSpPr>
        <p:spPr>
          <a:xfrm>
            <a:off x="196779" y="200856"/>
            <a:ext cx="714096" cy="283877"/>
          </a:xfrm>
          <a:prstGeom prst="rect">
            <a:avLst/>
          </a:prstGeom>
          <a:blipFill>
            <a:blip r:embed="rId16">
              <a:extLst>
                <a:ext uri="{96DAC541-7B7A-43D3-8B79-37D633B846F1}">
                  <asvg:svgBlip xmlns:asvg="http://schemas.microsoft.com/office/drawing/2016/SVG/main" r:embed="rId17"/>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0869580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ANGE CIRCLE #02 - LARGE Headline - LIGH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2" y="2391266"/>
            <a:ext cx="3687146"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68992" y="1295400"/>
            <a:ext cx="3687146" cy="992186"/>
          </a:xfrm>
        </p:spPr>
        <p:txBody>
          <a:bodyPr anchor="t"/>
          <a:lstStyle>
            <a:lvl1pPr>
              <a:lnSpc>
                <a:spcPct val="80000"/>
              </a:lnSpc>
              <a:defRPr sz="4400">
                <a:latin typeface="+mj-lt"/>
              </a:defRPr>
            </a:lvl1pPr>
          </a:lstStyle>
          <a:p>
            <a:r>
              <a:rPr lang="en-US" dirty="0"/>
              <a:t>large headline</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DB01B3A-3B1D-4A19-8867-1F61D9D04DB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11" name="Picture Placeholder 13">
            <a:extLst>
              <a:ext uri="{FF2B5EF4-FFF2-40B4-BE49-F238E27FC236}">
                <a16:creationId xmlns:a16="http://schemas.microsoft.com/office/drawing/2014/main" id="{65E34FC1-9D1F-DE90-BED7-EBDD646E5AE4}"/>
              </a:ext>
            </a:extLst>
          </p:cNvPr>
          <p:cNvSpPr>
            <a:spLocks noGrp="1"/>
          </p:cNvSpPr>
          <p:nvPr>
            <p:ph type="pic" sz="quarter" idx="25" hasCustomPrompt="1"/>
          </p:nvPr>
        </p:nvSpPr>
        <p:spPr>
          <a:xfrm>
            <a:off x="971678" y="5537192"/>
            <a:ext cx="360000" cy="360000"/>
          </a:xfrm>
          <a:blipFill>
            <a:blip r:embed="rId6">
              <a:extLst>
                <a:ext uri="{96DAC541-7B7A-43D3-8B79-37D633B846F1}">
                  <asvg:svgBlip xmlns:asvg="http://schemas.microsoft.com/office/drawing/2016/SVG/main" r:embed="rId7"/>
                </a:ext>
              </a:extLst>
            </a:blip>
            <a:stretch>
              <a:fillRect/>
            </a:stretch>
          </a:blipFill>
        </p:spPr>
        <p:txBody>
          <a:bodyPr>
            <a:normAutofit/>
          </a:bodyPr>
          <a:lstStyle>
            <a:lvl1pPr marL="0" indent="0">
              <a:buNone/>
              <a:defRPr sz="800"/>
            </a:lvl1pPr>
          </a:lstStyle>
          <a:p>
            <a:r>
              <a:rPr lang="en-US" dirty="0"/>
              <a:t>.</a:t>
            </a:r>
          </a:p>
        </p:txBody>
      </p:sp>
      <p:sp>
        <p:nvSpPr>
          <p:cNvPr id="13" name="Picture Placeholder 13">
            <a:extLst>
              <a:ext uri="{FF2B5EF4-FFF2-40B4-BE49-F238E27FC236}">
                <a16:creationId xmlns:a16="http://schemas.microsoft.com/office/drawing/2014/main" id="{8E11EDA3-4E08-E0D2-DCFD-D7DB5A082BAF}"/>
              </a:ext>
            </a:extLst>
          </p:cNvPr>
          <p:cNvSpPr>
            <a:spLocks noGrp="1"/>
          </p:cNvSpPr>
          <p:nvPr>
            <p:ph type="pic" sz="quarter" idx="26" hasCustomPrompt="1"/>
          </p:nvPr>
        </p:nvSpPr>
        <p:spPr>
          <a:xfrm>
            <a:off x="2229152" y="5537192"/>
            <a:ext cx="360000" cy="360000"/>
          </a:xfrm>
          <a:blipFill>
            <a:blip r:embed="rId8">
              <a:extLst>
                <a:ext uri="{96DAC541-7B7A-43D3-8B79-37D633B846F1}">
                  <asvg:svgBlip xmlns:asvg="http://schemas.microsoft.com/office/drawing/2016/SVG/main" r:embed="rId9"/>
                </a:ext>
              </a:extLst>
            </a:blip>
            <a:stretch>
              <a:fillRect/>
            </a:stretch>
          </a:blipFill>
        </p:spPr>
        <p:txBody>
          <a:bodyPr>
            <a:normAutofit/>
          </a:bodyPr>
          <a:lstStyle>
            <a:lvl1pPr marL="0" indent="0">
              <a:buNone/>
              <a:defRPr sz="800"/>
            </a:lvl1pPr>
          </a:lstStyle>
          <a:p>
            <a:r>
              <a:rPr lang="en-US" dirty="0"/>
              <a:t>.</a:t>
            </a:r>
          </a:p>
        </p:txBody>
      </p:sp>
      <p:sp>
        <p:nvSpPr>
          <p:cNvPr id="14" name="Picture Placeholder 13">
            <a:extLst>
              <a:ext uri="{FF2B5EF4-FFF2-40B4-BE49-F238E27FC236}">
                <a16:creationId xmlns:a16="http://schemas.microsoft.com/office/drawing/2014/main" id="{F4AB1C46-2D59-90C8-4719-D5FC41CCB6B6}"/>
              </a:ext>
            </a:extLst>
          </p:cNvPr>
          <p:cNvSpPr>
            <a:spLocks noGrp="1"/>
          </p:cNvSpPr>
          <p:nvPr>
            <p:ph type="pic" sz="quarter" idx="27" hasCustomPrompt="1"/>
          </p:nvPr>
        </p:nvSpPr>
        <p:spPr>
          <a:xfrm>
            <a:off x="3486625" y="5537192"/>
            <a:ext cx="360000" cy="360000"/>
          </a:xfrm>
          <a:blipFill>
            <a:blip r:embed="rId10">
              <a:extLst>
                <a:ext uri="{96DAC541-7B7A-43D3-8B79-37D633B846F1}">
                  <asvg:svgBlip xmlns:asvg="http://schemas.microsoft.com/office/drawing/2016/SVG/main" r:embed="rId11"/>
                </a:ext>
              </a:extLst>
            </a:blip>
            <a:stretch>
              <a:fillRect/>
            </a:stretch>
          </a:blipFill>
        </p:spPr>
        <p:txBody>
          <a:bodyPr>
            <a:normAutofit/>
          </a:bodyPr>
          <a:lstStyle>
            <a:lvl1pPr marL="0" indent="0">
              <a:buNone/>
              <a:defRPr sz="800"/>
            </a:lvl1pPr>
          </a:lstStyle>
          <a:p>
            <a:r>
              <a:rPr lang="en-US" dirty="0"/>
              <a:t>.</a:t>
            </a:r>
          </a:p>
        </p:txBody>
      </p:sp>
      <p:sp>
        <p:nvSpPr>
          <p:cNvPr id="15" name="Text Placeholder 25">
            <a:extLst>
              <a:ext uri="{FF2B5EF4-FFF2-40B4-BE49-F238E27FC236}">
                <a16:creationId xmlns:a16="http://schemas.microsoft.com/office/drawing/2014/main" id="{7A0C4779-BF99-5DDB-342F-7ED29744B2CF}"/>
              </a:ext>
            </a:extLst>
          </p:cNvPr>
          <p:cNvSpPr>
            <a:spLocks noGrp="1"/>
          </p:cNvSpPr>
          <p:nvPr>
            <p:ph type="body" sz="quarter" idx="22" hasCustomPrompt="1"/>
          </p:nvPr>
        </p:nvSpPr>
        <p:spPr>
          <a:xfrm>
            <a:off x="1369778"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1</a:t>
            </a:r>
          </a:p>
        </p:txBody>
      </p:sp>
      <p:sp>
        <p:nvSpPr>
          <p:cNvPr id="16" name="Text Placeholder 25">
            <a:extLst>
              <a:ext uri="{FF2B5EF4-FFF2-40B4-BE49-F238E27FC236}">
                <a16:creationId xmlns:a16="http://schemas.microsoft.com/office/drawing/2014/main" id="{44CB27DE-A62D-273C-B4BF-04AC331D3161}"/>
              </a:ext>
            </a:extLst>
          </p:cNvPr>
          <p:cNvSpPr>
            <a:spLocks noGrp="1"/>
          </p:cNvSpPr>
          <p:nvPr>
            <p:ph type="body" sz="quarter" idx="28" hasCustomPrompt="1"/>
          </p:nvPr>
        </p:nvSpPr>
        <p:spPr>
          <a:xfrm>
            <a:off x="2627251"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2</a:t>
            </a:r>
          </a:p>
        </p:txBody>
      </p:sp>
      <p:sp>
        <p:nvSpPr>
          <p:cNvPr id="17" name="Text Placeholder 25">
            <a:extLst>
              <a:ext uri="{FF2B5EF4-FFF2-40B4-BE49-F238E27FC236}">
                <a16:creationId xmlns:a16="http://schemas.microsoft.com/office/drawing/2014/main" id="{BF572EA2-BDE8-2DFD-0389-72897B73D24A}"/>
              </a:ext>
            </a:extLst>
          </p:cNvPr>
          <p:cNvSpPr>
            <a:spLocks noGrp="1"/>
          </p:cNvSpPr>
          <p:nvPr>
            <p:ph type="body" sz="quarter" idx="29" hasCustomPrompt="1"/>
          </p:nvPr>
        </p:nvSpPr>
        <p:spPr>
          <a:xfrm>
            <a:off x="3884726" y="5528192"/>
            <a:ext cx="859374" cy="360000"/>
          </a:xfrm>
          <a:noFill/>
          <a:ln>
            <a:noFill/>
          </a:ln>
        </p:spPr>
        <p:txBody>
          <a:bodyPr wrap="square" anchor="ctr">
            <a:noAutofit/>
          </a:bodyPr>
          <a:lstStyle>
            <a:lvl1pPr marL="0" indent="0">
              <a:buNone/>
              <a:defRPr lang="en-US" sz="1600" dirty="0">
                <a:solidFill>
                  <a:schemeClr val="tx1"/>
                </a:solidFill>
                <a:latin typeface="+mn-lt"/>
                <a:ea typeface="MS PGothic" pitchFamily="34" charset="-128"/>
                <a:cs typeface="Arial" panose="020B0604020202020204" pitchFamily="34" charset="0"/>
              </a:defRPr>
            </a:lvl1pPr>
          </a:lstStyle>
          <a:p>
            <a:pPr marL="0" lvl="0" fontAlgn="base">
              <a:spcBef>
                <a:spcPct val="0"/>
              </a:spcBef>
              <a:spcAft>
                <a:spcPct val="0"/>
              </a:spcAft>
            </a:pPr>
            <a:r>
              <a:rPr lang="en-US" dirty="0"/>
              <a:t>ACFT#3</a:t>
            </a:r>
          </a:p>
        </p:txBody>
      </p:sp>
      <p:sp>
        <p:nvSpPr>
          <p:cNvPr id="18" name="Text Placeholder 21">
            <a:extLst>
              <a:ext uri="{FF2B5EF4-FFF2-40B4-BE49-F238E27FC236}">
                <a16:creationId xmlns:a16="http://schemas.microsoft.com/office/drawing/2014/main" id="{341CD3D9-19B8-5D2C-49CF-477FE242AF30}"/>
              </a:ext>
            </a:extLst>
          </p:cNvPr>
          <p:cNvSpPr>
            <a:spLocks noGrp="1"/>
          </p:cNvSpPr>
          <p:nvPr>
            <p:ph type="body" sz="quarter" idx="23" hasCustomPrompt="1"/>
          </p:nvPr>
        </p:nvSpPr>
        <p:spPr>
          <a:xfrm>
            <a:off x="973917" y="5895573"/>
            <a:ext cx="3687762" cy="362035"/>
          </a:xfrm>
        </p:spPr>
        <p:txBody>
          <a:bodyPr vert="horz" lIns="36000" tIns="45720" rIns="0" bIns="45720" rtlCol="0" anchor="b"/>
          <a:lstStyle>
            <a:lvl1pPr marL="0" indent="0">
              <a:buNone/>
              <a:defRPr lang="en-US" sz="800" dirty="0">
                <a:solidFill>
                  <a:schemeClr val="tx1">
                    <a:tint val="75000"/>
                  </a:schemeClr>
                </a:solidFill>
                <a:latin typeface="+mn-lt"/>
              </a:defRPr>
            </a:lvl1pPr>
          </a:lstStyle>
          <a:p>
            <a:pPr marL="0" lvl="0"/>
            <a:r>
              <a:rPr lang="en-US" dirty="0"/>
              <a:t>(*) Single-class seating</a:t>
            </a:r>
          </a:p>
        </p:txBody>
      </p:sp>
      <p:sp>
        <p:nvSpPr>
          <p:cNvPr id="4" name="Picture Placeholder 8">
            <a:extLst>
              <a:ext uri="{FF2B5EF4-FFF2-40B4-BE49-F238E27FC236}">
                <a16:creationId xmlns:a16="http://schemas.microsoft.com/office/drawing/2014/main" id="{25BF3B4F-E44A-852B-A191-BC516E182CD1}"/>
              </a:ext>
            </a:extLst>
          </p:cNvPr>
          <p:cNvSpPr>
            <a:spLocks noGrp="1"/>
          </p:cNvSpPr>
          <p:nvPr>
            <p:ph type="pic" sz="quarter" idx="24" hasCustomPrompt="1"/>
          </p:nvPr>
        </p:nvSpPr>
        <p:spPr>
          <a:xfrm>
            <a:off x="5746083" y="763514"/>
            <a:ext cx="5472000" cy="5472000"/>
          </a:xfrm>
          <a:prstGeom prst="ellipse">
            <a:avLst/>
          </a:prstGeom>
          <a:blipFill>
            <a:blip r:embed="rId12">
              <a:extLst>
                <a:ext uri="{96DAC541-7B7A-43D3-8B79-37D633B846F1}">
                  <asvg:svgBlip xmlns:asvg="http://schemas.microsoft.com/office/drawing/2016/SVG/main" r:embed="rId13"/>
                </a:ext>
              </a:extLst>
            </a:blip>
            <a:stretch>
              <a:fillRect/>
            </a:stretch>
          </a:blipFill>
        </p:spPr>
        <p:txBody>
          <a:bodyPr anchor="ctr"/>
          <a:lstStyle>
            <a:lvl1pPr marL="0" indent="0" algn="ctr">
              <a:buNone/>
              <a:defRPr>
                <a:latin typeface="+mn-lt"/>
              </a:defRPr>
            </a:lvl1pPr>
          </a:lstStyle>
          <a:p>
            <a:r>
              <a:rPr lang="en-US" dirty="0"/>
              <a:t>Paste the Range Circle directly here</a:t>
            </a:r>
          </a:p>
        </p:txBody>
      </p:sp>
      <p:sp>
        <p:nvSpPr>
          <p:cNvPr id="26" name="Left Content Placeholder">
            <a:extLst>
              <a:ext uri="{FF2B5EF4-FFF2-40B4-BE49-F238E27FC236}">
                <a16:creationId xmlns:a16="http://schemas.microsoft.com/office/drawing/2014/main" id="{810302E0-87EA-7FB3-3BA8-ED4A43A04E47}"/>
              </a:ext>
            </a:extLst>
          </p:cNvPr>
          <p:cNvSpPr>
            <a:spLocks noGrp="1"/>
          </p:cNvSpPr>
          <p:nvPr>
            <p:ph sz="quarter" idx="15"/>
          </p:nvPr>
        </p:nvSpPr>
        <p:spPr>
          <a:xfrm>
            <a:off x="968376" y="2814640"/>
            <a:ext cx="3687762" cy="2644245"/>
          </a:xfrm>
        </p:spPr>
        <p:txBody>
          <a:bodyPr tIns="0" rIns="0"/>
          <a:lstStyle>
            <a:lvl1pPr marL="0" indent="0">
              <a:lnSpc>
                <a:spcPct val="120000"/>
              </a:lnSpc>
              <a:spcBef>
                <a:spcPts val="1000"/>
              </a:spcBef>
              <a:buNone/>
              <a:defRPr>
                <a:latin typeface="+mn-lt"/>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27" name="Rectangle 26">
            <a:extLst>
              <a:ext uri="{FF2B5EF4-FFF2-40B4-BE49-F238E27FC236}">
                <a16:creationId xmlns:a16="http://schemas.microsoft.com/office/drawing/2014/main" id="{6E2DBC8E-4A42-601F-BB4E-E1032AD761C9}"/>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6" name="Logo Placeholder 30">
            <a:extLst>
              <a:ext uri="{FF2B5EF4-FFF2-40B4-BE49-F238E27FC236}">
                <a16:creationId xmlns:a16="http://schemas.microsoft.com/office/drawing/2014/main" id="{8C98389F-0DEB-2B1D-0939-AF85CED42150}"/>
              </a:ext>
            </a:extLst>
          </p:cNvPr>
          <p:cNvSpPr txBox="1">
            <a:spLocks/>
          </p:cNvSpPr>
          <p:nvPr userDrawn="1">
            <p:custDataLst>
              <p:tags r:id="rId3"/>
            </p:custDataLst>
          </p:nvPr>
        </p:nvSpPr>
        <p:spPr>
          <a:xfrm>
            <a:off x="11827011" y="223406"/>
            <a:ext cx="179699" cy="179673"/>
          </a:xfrm>
          <a:prstGeom prst="rect">
            <a:avLst/>
          </a:prstGeom>
          <a:blipFill>
            <a:blip r:embed="rId14">
              <a:extLst>
                <a:ext uri="{96DAC541-7B7A-43D3-8B79-37D633B846F1}">
                  <asvg:svgBlip xmlns:asvg="http://schemas.microsoft.com/office/drawing/2016/SVG/main" r:embed="rId15"/>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8" name="Business Unit Placeholder 28">
            <a:extLst>
              <a:ext uri="{FF2B5EF4-FFF2-40B4-BE49-F238E27FC236}">
                <a16:creationId xmlns:a16="http://schemas.microsoft.com/office/drawing/2014/main" id="{0FEE09E4-1BDE-BBBB-BFDA-F921C94CA3FA}"/>
              </a:ext>
            </a:extLst>
          </p:cNvPr>
          <p:cNvSpPr txBox="1">
            <a:spLocks/>
          </p:cNvSpPr>
          <p:nvPr userDrawn="1">
            <p:custDataLst>
              <p:tags r:id="rId4"/>
            </p:custDataLst>
          </p:nvPr>
        </p:nvSpPr>
        <p:spPr>
          <a:xfrm>
            <a:off x="196779" y="200856"/>
            <a:ext cx="714096" cy="283877"/>
          </a:xfrm>
          <a:prstGeom prst="rect">
            <a:avLst/>
          </a:prstGeom>
          <a:blipFill>
            <a:blip r:embed="rId16">
              <a:extLst>
                <a:ext uri="{96DAC541-7B7A-43D3-8B79-37D633B846F1}">
                  <asvg:svgBlip xmlns:asvg="http://schemas.microsoft.com/office/drawing/2016/SVG/main" r:embed="rId17"/>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40414404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IGHLIGHT with CENTRE Diagonal">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12192000" cy="6858000"/>
          </a:xfrm>
        </p:spPr>
        <p:txBody>
          <a:bodyPr/>
          <a:lstStyle>
            <a:lvl1pPr marL="0" indent="0">
              <a:buNone/>
              <a:defRPr>
                <a:solidFill>
                  <a:schemeClr val="bg1"/>
                </a:solidFill>
              </a:defRPr>
            </a:lvl1pPr>
          </a:lstStyle>
          <a:p>
            <a:r>
              <a:rPr lang="en-US" dirty="0"/>
              <a:t>  </a:t>
            </a:r>
          </a:p>
        </p:txBody>
      </p:sp>
      <p:sp>
        <p:nvSpPr>
          <p:cNvPr id="11" name="Picture Placeholder 10">
            <a:extLst>
              <a:ext uri="{FF2B5EF4-FFF2-40B4-BE49-F238E27FC236}">
                <a16:creationId xmlns:a16="http://schemas.microsoft.com/office/drawing/2014/main" id="{028C53E0-1549-2CA5-2928-070C319F9E7F}"/>
              </a:ext>
            </a:extLst>
          </p:cNvPr>
          <p:cNvSpPr>
            <a:spLocks noGrp="1"/>
          </p:cNvSpPr>
          <p:nvPr>
            <p:ph type="pic" sz="quarter" idx="23" hasCustomPrompt="1"/>
          </p:nvPr>
        </p:nvSpPr>
        <p:spPr>
          <a:xfrm>
            <a:off x="5446482" y="1940818"/>
            <a:ext cx="1012495" cy="28165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solidFill>
                  <a:schemeClr val="bg1"/>
                </a:solidFill>
              </a:defRPr>
            </a:lvl1pPr>
          </a:lstStyle>
          <a:p>
            <a:r>
              <a:rPr lang="en-US" dirty="0"/>
              <a:t>  </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1001598" y="2056089"/>
            <a:ext cx="4629260" cy="1627304"/>
          </a:xfrm>
        </p:spPr>
        <p:txBody>
          <a:bodyPr/>
          <a:lstStyle>
            <a:lvl1pPr algn="r">
              <a:defRPr sz="4400">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9" name="Text Placeholder 8">
            <a:extLst>
              <a:ext uri="{FF2B5EF4-FFF2-40B4-BE49-F238E27FC236}">
                <a16:creationId xmlns:a16="http://schemas.microsoft.com/office/drawing/2014/main" id="{7B2B9B06-931A-ABB0-25C5-2AE9B1AB8CA6}"/>
              </a:ext>
            </a:extLst>
          </p:cNvPr>
          <p:cNvSpPr>
            <a:spLocks noGrp="1"/>
          </p:cNvSpPr>
          <p:nvPr>
            <p:ph type="body" sz="quarter" idx="22"/>
          </p:nvPr>
        </p:nvSpPr>
        <p:spPr>
          <a:xfrm>
            <a:off x="6322899" y="3094852"/>
            <a:ext cx="4325163" cy="1922770"/>
          </a:xfrm>
        </p:spPr>
        <p:txBody>
          <a:bodyPr/>
          <a:lstStyle>
            <a:lvl1pPr marL="0" indent="0">
              <a:lnSpc>
                <a:spcPct val="120000"/>
              </a:lnSpc>
              <a:buNone/>
              <a:defRPr>
                <a:latin typeface="+mn-lt"/>
              </a:defRPr>
            </a:lvl1pPr>
          </a:lstStyle>
          <a:p>
            <a:pPr lvl="0"/>
            <a:r>
              <a:rPr lang="en-US"/>
              <a:t>Click to edit Master text styles</a:t>
            </a:r>
          </a:p>
        </p:txBody>
      </p:sp>
    </p:spTree>
    <p:extLst>
      <p:ext uri="{BB962C8B-B14F-4D97-AF65-F5344CB8AC3E}">
        <p14:creationId xmlns:p14="http://schemas.microsoft.com/office/powerpoint/2010/main" val="32904628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XES | 10 Small Pictures">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0" cy="332398"/>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18" name="Text Placeholder 40">
            <a:extLst>
              <a:ext uri="{FF2B5EF4-FFF2-40B4-BE49-F238E27FC236}">
                <a16:creationId xmlns:a16="http://schemas.microsoft.com/office/drawing/2014/main" id="{5FE0CE9C-1C07-151F-6199-3D2A3C176C1F}"/>
              </a:ext>
            </a:extLst>
          </p:cNvPr>
          <p:cNvSpPr>
            <a:spLocks noGrp="1"/>
          </p:cNvSpPr>
          <p:nvPr>
            <p:ph type="body" sz="quarter" idx="36" hasCustomPrompt="1"/>
          </p:nvPr>
        </p:nvSpPr>
        <p:spPr>
          <a:xfrm>
            <a:off x="957310" y="5385316"/>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20" name="Text Placeholder 40">
            <a:extLst>
              <a:ext uri="{FF2B5EF4-FFF2-40B4-BE49-F238E27FC236}">
                <a16:creationId xmlns:a16="http://schemas.microsoft.com/office/drawing/2014/main" id="{4D269557-57A4-E67D-A9CD-A6145D43BE01}"/>
              </a:ext>
            </a:extLst>
          </p:cNvPr>
          <p:cNvSpPr>
            <a:spLocks noGrp="1"/>
          </p:cNvSpPr>
          <p:nvPr>
            <p:ph type="body" sz="quarter" idx="38" hasCustomPrompt="1"/>
          </p:nvPr>
        </p:nvSpPr>
        <p:spPr>
          <a:xfrm>
            <a:off x="3030476" y="5385316"/>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22" name="Text Placeholder 40">
            <a:extLst>
              <a:ext uri="{FF2B5EF4-FFF2-40B4-BE49-F238E27FC236}">
                <a16:creationId xmlns:a16="http://schemas.microsoft.com/office/drawing/2014/main" id="{777DDBA2-A1EC-DB4D-E1D2-6A52D04062ED}"/>
              </a:ext>
            </a:extLst>
          </p:cNvPr>
          <p:cNvSpPr>
            <a:spLocks noGrp="1"/>
          </p:cNvSpPr>
          <p:nvPr>
            <p:ph type="body" sz="quarter" idx="40" hasCustomPrompt="1"/>
          </p:nvPr>
        </p:nvSpPr>
        <p:spPr>
          <a:xfrm>
            <a:off x="5103642" y="5385316"/>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24" name="Text Placeholder 40">
            <a:extLst>
              <a:ext uri="{FF2B5EF4-FFF2-40B4-BE49-F238E27FC236}">
                <a16:creationId xmlns:a16="http://schemas.microsoft.com/office/drawing/2014/main" id="{E9D9FAAD-103D-0D4B-598E-D398A1D01D65}"/>
              </a:ext>
            </a:extLst>
          </p:cNvPr>
          <p:cNvSpPr>
            <a:spLocks noGrp="1"/>
          </p:cNvSpPr>
          <p:nvPr>
            <p:ph type="body" sz="quarter" idx="42" hasCustomPrompt="1"/>
          </p:nvPr>
        </p:nvSpPr>
        <p:spPr>
          <a:xfrm>
            <a:off x="7176808" y="5385316"/>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12" name="Picture Placeholder 5">
            <a:extLst>
              <a:ext uri="{FF2B5EF4-FFF2-40B4-BE49-F238E27FC236}">
                <a16:creationId xmlns:a16="http://schemas.microsoft.com/office/drawing/2014/main" id="{37542176-05BC-C4FF-AFF8-72527BDE35DA}"/>
              </a:ext>
            </a:extLst>
          </p:cNvPr>
          <p:cNvSpPr>
            <a:spLocks noGrp="1"/>
          </p:cNvSpPr>
          <p:nvPr>
            <p:ph type="pic" sz="quarter" idx="44" hasCustomPrompt="1"/>
          </p:nvPr>
        </p:nvSpPr>
        <p:spPr>
          <a:xfrm>
            <a:off x="957310" y="4045906"/>
            <a:ext cx="1980000" cy="1260000"/>
          </a:xfrm>
          <a:solidFill>
            <a:schemeClr val="bg2"/>
          </a:solidFill>
        </p:spPr>
        <p:txBody>
          <a:bodyPr/>
          <a:lstStyle>
            <a:lvl1pPr marL="0" indent="0">
              <a:buNone/>
              <a:defRPr>
                <a:latin typeface="+mn-lt"/>
              </a:defRPr>
            </a:lvl1pPr>
          </a:lstStyle>
          <a:p>
            <a:r>
              <a:rPr lang="en-US" dirty="0"/>
              <a:t>   </a:t>
            </a:r>
          </a:p>
        </p:txBody>
      </p:sp>
      <p:sp>
        <p:nvSpPr>
          <p:cNvPr id="25" name="Picture Placeholder 5">
            <a:extLst>
              <a:ext uri="{FF2B5EF4-FFF2-40B4-BE49-F238E27FC236}">
                <a16:creationId xmlns:a16="http://schemas.microsoft.com/office/drawing/2014/main" id="{B993879B-AAE8-59B7-2112-A11080939081}"/>
              </a:ext>
            </a:extLst>
          </p:cNvPr>
          <p:cNvSpPr>
            <a:spLocks noGrp="1"/>
          </p:cNvSpPr>
          <p:nvPr>
            <p:ph type="pic" sz="quarter" idx="45" hasCustomPrompt="1"/>
          </p:nvPr>
        </p:nvSpPr>
        <p:spPr>
          <a:xfrm>
            <a:off x="3030476" y="4045906"/>
            <a:ext cx="1980000" cy="1260000"/>
          </a:xfrm>
          <a:solidFill>
            <a:schemeClr val="bg2"/>
          </a:solidFill>
        </p:spPr>
        <p:txBody>
          <a:bodyPr/>
          <a:lstStyle>
            <a:lvl1pPr marL="0" indent="0">
              <a:buNone/>
              <a:defRPr>
                <a:latin typeface="+mn-lt"/>
              </a:defRPr>
            </a:lvl1pPr>
          </a:lstStyle>
          <a:p>
            <a:r>
              <a:rPr lang="en-US" dirty="0"/>
              <a:t>   </a:t>
            </a:r>
          </a:p>
        </p:txBody>
      </p:sp>
      <p:sp>
        <p:nvSpPr>
          <p:cNvPr id="26" name="Picture Placeholder 5">
            <a:extLst>
              <a:ext uri="{FF2B5EF4-FFF2-40B4-BE49-F238E27FC236}">
                <a16:creationId xmlns:a16="http://schemas.microsoft.com/office/drawing/2014/main" id="{D6BC976D-72D1-5237-86F2-1B5D914FE309}"/>
              </a:ext>
            </a:extLst>
          </p:cNvPr>
          <p:cNvSpPr>
            <a:spLocks noGrp="1"/>
          </p:cNvSpPr>
          <p:nvPr>
            <p:ph type="pic" sz="quarter" idx="46" hasCustomPrompt="1"/>
          </p:nvPr>
        </p:nvSpPr>
        <p:spPr>
          <a:xfrm>
            <a:off x="5103642" y="4045906"/>
            <a:ext cx="1980000" cy="1260000"/>
          </a:xfrm>
          <a:solidFill>
            <a:schemeClr val="bg2"/>
          </a:solidFill>
        </p:spPr>
        <p:txBody>
          <a:bodyPr/>
          <a:lstStyle>
            <a:lvl1pPr marL="0" indent="0">
              <a:buNone/>
              <a:defRPr>
                <a:latin typeface="+mn-lt"/>
              </a:defRPr>
            </a:lvl1pPr>
          </a:lstStyle>
          <a:p>
            <a:r>
              <a:rPr lang="en-US" dirty="0"/>
              <a:t>   </a:t>
            </a:r>
          </a:p>
        </p:txBody>
      </p:sp>
      <p:sp>
        <p:nvSpPr>
          <p:cNvPr id="27" name="Picture Placeholder 5">
            <a:extLst>
              <a:ext uri="{FF2B5EF4-FFF2-40B4-BE49-F238E27FC236}">
                <a16:creationId xmlns:a16="http://schemas.microsoft.com/office/drawing/2014/main" id="{FB7F7748-74D6-0B5D-A9A3-BA457C0A8641}"/>
              </a:ext>
            </a:extLst>
          </p:cNvPr>
          <p:cNvSpPr>
            <a:spLocks noGrp="1"/>
          </p:cNvSpPr>
          <p:nvPr>
            <p:ph type="pic" sz="quarter" idx="47" hasCustomPrompt="1"/>
          </p:nvPr>
        </p:nvSpPr>
        <p:spPr>
          <a:xfrm>
            <a:off x="7176808" y="4045906"/>
            <a:ext cx="1980000" cy="1260000"/>
          </a:xfrm>
          <a:solidFill>
            <a:schemeClr val="bg2"/>
          </a:solidFill>
        </p:spPr>
        <p:txBody>
          <a:bodyPr/>
          <a:lstStyle>
            <a:lvl1pPr marL="0" indent="0">
              <a:buNone/>
              <a:defRPr>
                <a:latin typeface="+mn-lt"/>
              </a:defRPr>
            </a:lvl1pPr>
          </a:lstStyle>
          <a:p>
            <a:r>
              <a:rPr lang="en-US" dirty="0"/>
              <a:t>   </a:t>
            </a:r>
          </a:p>
        </p:txBody>
      </p:sp>
      <p:sp>
        <p:nvSpPr>
          <p:cNvPr id="28" name="Picture Placeholder 5">
            <a:extLst>
              <a:ext uri="{FF2B5EF4-FFF2-40B4-BE49-F238E27FC236}">
                <a16:creationId xmlns:a16="http://schemas.microsoft.com/office/drawing/2014/main" id="{35BAED75-327E-2525-109B-A71495D86355}"/>
              </a:ext>
            </a:extLst>
          </p:cNvPr>
          <p:cNvSpPr>
            <a:spLocks noGrp="1"/>
          </p:cNvSpPr>
          <p:nvPr>
            <p:ph type="pic" sz="quarter" idx="48" hasCustomPrompt="1"/>
          </p:nvPr>
        </p:nvSpPr>
        <p:spPr>
          <a:xfrm>
            <a:off x="9249975" y="4045906"/>
            <a:ext cx="1980000" cy="1260000"/>
          </a:xfrm>
          <a:solidFill>
            <a:schemeClr val="bg2"/>
          </a:solidFill>
        </p:spPr>
        <p:txBody>
          <a:bodyPr/>
          <a:lstStyle>
            <a:lvl1pPr marL="0" indent="0">
              <a:buNone/>
              <a:defRPr/>
            </a:lvl1pPr>
          </a:lstStyle>
          <a:p>
            <a:r>
              <a:rPr lang="en-US" dirty="0"/>
              <a:t>   </a:t>
            </a:r>
          </a:p>
        </p:txBody>
      </p:sp>
      <p:sp>
        <p:nvSpPr>
          <p:cNvPr id="30" name="Text Placeholder 40">
            <a:extLst>
              <a:ext uri="{FF2B5EF4-FFF2-40B4-BE49-F238E27FC236}">
                <a16:creationId xmlns:a16="http://schemas.microsoft.com/office/drawing/2014/main" id="{DC36969D-6C92-9471-C5DE-8982C4FD87B0}"/>
              </a:ext>
            </a:extLst>
          </p:cNvPr>
          <p:cNvSpPr>
            <a:spLocks noGrp="1"/>
          </p:cNvSpPr>
          <p:nvPr>
            <p:ph type="body" sz="quarter" idx="49" hasCustomPrompt="1"/>
          </p:nvPr>
        </p:nvSpPr>
        <p:spPr>
          <a:xfrm>
            <a:off x="9249975" y="5385316"/>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32" name="Text Placeholder 40">
            <a:extLst>
              <a:ext uri="{FF2B5EF4-FFF2-40B4-BE49-F238E27FC236}">
                <a16:creationId xmlns:a16="http://schemas.microsoft.com/office/drawing/2014/main" id="{D74959FF-84B9-169B-D499-911EEB7211D9}"/>
              </a:ext>
            </a:extLst>
          </p:cNvPr>
          <p:cNvSpPr>
            <a:spLocks noGrp="1"/>
          </p:cNvSpPr>
          <p:nvPr>
            <p:ph type="body" sz="quarter" idx="50" hasCustomPrompt="1"/>
          </p:nvPr>
        </p:nvSpPr>
        <p:spPr>
          <a:xfrm>
            <a:off x="957310" y="3328548"/>
            <a:ext cx="1980000" cy="612000"/>
          </a:xfrm>
        </p:spPr>
        <p:txBody>
          <a:bodyPr>
            <a:noAutofit/>
          </a:bodyPr>
          <a:lstStyle>
            <a:lvl1pPr marL="0" indent="0">
              <a:lnSpc>
                <a:spcPct val="120000"/>
              </a:lnSpc>
              <a:buNone/>
              <a:defRPr sz="1200">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33" name="Text Placeholder 40">
            <a:extLst>
              <a:ext uri="{FF2B5EF4-FFF2-40B4-BE49-F238E27FC236}">
                <a16:creationId xmlns:a16="http://schemas.microsoft.com/office/drawing/2014/main" id="{B77C481A-F425-394E-F6F6-2521F7D3D259}"/>
              </a:ext>
            </a:extLst>
          </p:cNvPr>
          <p:cNvSpPr>
            <a:spLocks noGrp="1"/>
          </p:cNvSpPr>
          <p:nvPr>
            <p:ph type="body" sz="quarter" idx="51" hasCustomPrompt="1"/>
          </p:nvPr>
        </p:nvSpPr>
        <p:spPr>
          <a:xfrm>
            <a:off x="3030476" y="3328548"/>
            <a:ext cx="1980000" cy="612000"/>
          </a:xfrm>
        </p:spPr>
        <p:txBody>
          <a:bodyPr>
            <a:noAutofit/>
          </a:bodyPr>
          <a:lstStyle>
            <a:lvl1pPr marL="0" indent="0">
              <a:lnSpc>
                <a:spcPct val="120000"/>
              </a:lnSpc>
              <a:buNone/>
              <a:defRPr sz="1200">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34" name="Text Placeholder 40">
            <a:extLst>
              <a:ext uri="{FF2B5EF4-FFF2-40B4-BE49-F238E27FC236}">
                <a16:creationId xmlns:a16="http://schemas.microsoft.com/office/drawing/2014/main" id="{8FCB1591-3015-6543-2EA4-36908C940B6C}"/>
              </a:ext>
            </a:extLst>
          </p:cNvPr>
          <p:cNvSpPr>
            <a:spLocks noGrp="1"/>
          </p:cNvSpPr>
          <p:nvPr>
            <p:ph type="body" sz="quarter" idx="52" hasCustomPrompt="1"/>
          </p:nvPr>
        </p:nvSpPr>
        <p:spPr>
          <a:xfrm>
            <a:off x="5103642" y="3328548"/>
            <a:ext cx="1980000" cy="612000"/>
          </a:xfrm>
        </p:spPr>
        <p:txBody>
          <a:bodyPr>
            <a:noAutofit/>
          </a:bodyPr>
          <a:lstStyle>
            <a:lvl1pPr marL="0" indent="0">
              <a:lnSpc>
                <a:spcPct val="120000"/>
              </a:lnSpc>
              <a:buNone/>
              <a:defRPr sz="1200">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35" name="Text Placeholder 40">
            <a:extLst>
              <a:ext uri="{FF2B5EF4-FFF2-40B4-BE49-F238E27FC236}">
                <a16:creationId xmlns:a16="http://schemas.microsoft.com/office/drawing/2014/main" id="{E83BD844-55B6-DBC1-6B66-C663387B2C52}"/>
              </a:ext>
            </a:extLst>
          </p:cNvPr>
          <p:cNvSpPr>
            <a:spLocks noGrp="1"/>
          </p:cNvSpPr>
          <p:nvPr>
            <p:ph type="body" sz="quarter" idx="53" hasCustomPrompt="1"/>
          </p:nvPr>
        </p:nvSpPr>
        <p:spPr>
          <a:xfrm>
            <a:off x="7176808" y="3328548"/>
            <a:ext cx="1980000" cy="612000"/>
          </a:xfrm>
        </p:spPr>
        <p:txBody>
          <a:bodyPr>
            <a:noAutofit/>
          </a:bodyPr>
          <a:lstStyle>
            <a:lvl1pPr marL="0" indent="0">
              <a:lnSpc>
                <a:spcPct val="120000"/>
              </a:lnSpc>
              <a:buNone/>
              <a:defRPr sz="1200">
                <a:latin typeface="+mn-lt"/>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36" name="Picture Placeholder 5">
            <a:extLst>
              <a:ext uri="{FF2B5EF4-FFF2-40B4-BE49-F238E27FC236}">
                <a16:creationId xmlns:a16="http://schemas.microsoft.com/office/drawing/2014/main" id="{4DBFE13C-E593-376A-0E55-91F0EB82509B}"/>
              </a:ext>
            </a:extLst>
          </p:cNvPr>
          <p:cNvSpPr>
            <a:spLocks noGrp="1"/>
          </p:cNvSpPr>
          <p:nvPr>
            <p:ph type="pic" sz="quarter" idx="54" hasCustomPrompt="1"/>
          </p:nvPr>
        </p:nvSpPr>
        <p:spPr>
          <a:xfrm>
            <a:off x="957310" y="1989138"/>
            <a:ext cx="1980000" cy="1260000"/>
          </a:xfrm>
          <a:solidFill>
            <a:schemeClr val="bg2"/>
          </a:solidFill>
        </p:spPr>
        <p:txBody>
          <a:bodyPr/>
          <a:lstStyle>
            <a:lvl1pPr marL="0" indent="0">
              <a:buNone/>
              <a:defRPr/>
            </a:lvl1pPr>
          </a:lstStyle>
          <a:p>
            <a:r>
              <a:rPr lang="en-US" dirty="0"/>
              <a:t>   </a:t>
            </a:r>
          </a:p>
        </p:txBody>
      </p:sp>
      <p:sp>
        <p:nvSpPr>
          <p:cNvPr id="37" name="Picture Placeholder 5">
            <a:extLst>
              <a:ext uri="{FF2B5EF4-FFF2-40B4-BE49-F238E27FC236}">
                <a16:creationId xmlns:a16="http://schemas.microsoft.com/office/drawing/2014/main" id="{B1FB5D4D-287B-30B8-2177-300DE31EE165}"/>
              </a:ext>
            </a:extLst>
          </p:cNvPr>
          <p:cNvSpPr>
            <a:spLocks noGrp="1"/>
          </p:cNvSpPr>
          <p:nvPr>
            <p:ph type="pic" sz="quarter" idx="55" hasCustomPrompt="1"/>
          </p:nvPr>
        </p:nvSpPr>
        <p:spPr>
          <a:xfrm>
            <a:off x="3030476" y="1989138"/>
            <a:ext cx="1980000" cy="1260000"/>
          </a:xfrm>
          <a:solidFill>
            <a:schemeClr val="bg2"/>
          </a:solidFill>
        </p:spPr>
        <p:txBody>
          <a:bodyPr/>
          <a:lstStyle>
            <a:lvl1pPr marL="0" indent="0">
              <a:buNone/>
              <a:defRPr/>
            </a:lvl1pPr>
          </a:lstStyle>
          <a:p>
            <a:r>
              <a:rPr lang="en-US" dirty="0"/>
              <a:t>   </a:t>
            </a:r>
          </a:p>
        </p:txBody>
      </p:sp>
      <p:sp>
        <p:nvSpPr>
          <p:cNvPr id="38" name="Picture Placeholder 5">
            <a:extLst>
              <a:ext uri="{FF2B5EF4-FFF2-40B4-BE49-F238E27FC236}">
                <a16:creationId xmlns:a16="http://schemas.microsoft.com/office/drawing/2014/main" id="{04908FAD-433F-A3EE-F505-B1D732758F49}"/>
              </a:ext>
            </a:extLst>
          </p:cNvPr>
          <p:cNvSpPr>
            <a:spLocks noGrp="1"/>
          </p:cNvSpPr>
          <p:nvPr>
            <p:ph type="pic" sz="quarter" idx="56" hasCustomPrompt="1"/>
          </p:nvPr>
        </p:nvSpPr>
        <p:spPr>
          <a:xfrm>
            <a:off x="5103642" y="1989138"/>
            <a:ext cx="1980000" cy="1260000"/>
          </a:xfrm>
          <a:solidFill>
            <a:schemeClr val="bg2"/>
          </a:solidFill>
        </p:spPr>
        <p:txBody>
          <a:bodyPr/>
          <a:lstStyle>
            <a:lvl1pPr marL="0" indent="0">
              <a:buNone/>
              <a:defRPr/>
            </a:lvl1pPr>
          </a:lstStyle>
          <a:p>
            <a:r>
              <a:rPr lang="en-US" dirty="0"/>
              <a:t>   </a:t>
            </a:r>
          </a:p>
        </p:txBody>
      </p:sp>
      <p:sp>
        <p:nvSpPr>
          <p:cNvPr id="39" name="Picture Placeholder 5">
            <a:extLst>
              <a:ext uri="{FF2B5EF4-FFF2-40B4-BE49-F238E27FC236}">
                <a16:creationId xmlns:a16="http://schemas.microsoft.com/office/drawing/2014/main" id="{785F836E-BC3B-C501-6B15-8A7B6E0A070B}"/>
              </a:ext>
            </a:extLst>
          </p:cNvPr>
          <p:cNvSpPr>
            <a:spLocks noGrp="1"/>
          </p:cNvSpPr>
          <p:nvPr>
            <p:ph type="pic" sz="quarter" idx="57" hasCustomPrompt="1"/>
          </p:nvPr>
        </p:nvSpPr>
        <p:spPr>
          <a:xfrm>
            <a:off x="7176808" y="1989138"/>
            <a:ext cx="1980000" cy="1260000"/>
          </a:xfrm>
          <a:solidFill>
            <a:schemeClr val="bg2"/>
          </a:solidFill>
        </p:spPr>
        <p:txBody>
          <a:bodyPr/>
          <a:lstStyle>
            <a:lvl1pPr marL="0" indent="0">
              <a:buNone/>
              <a:defRPr/>
            </a:lvl1pPr>
          </a:lstStyle>
          <a:p>
            <a:r>
              <a:rPr lang="en-US" dirty="0"/>
              <a:t>   </a:t>
            </a:r>
          </a:p>
        </p:txBody>
      </p:sp>
      <p:sp>
        <p:nvSpPr>
          <p:cNvPr id="40" name="Picture Placeholder 5">
            <a:extLst>
              <a:ext uri="{FF2B5EF4-FFF2-40B4-BE49-F238E27FC236}">
                <a16:creationId xmlns:a16="http://schemas.microsoft.com/office/drawing/2014/main" id="{9E97F673-8599-49E0-2BAB-403FA4383428}"/>
              </a:ext>
            </a:extLst>
          </p:cNvPr>
          <p:cNvSpPr>
            <a:spLocks noGrp="1"/>
          </p:cNvSpPr>
          <p:nvPr>
            <p:ph type="pic" sz="quarter" idx="58" hasCustomPrompt="1"/>
          </p:nvPr>
        </p:nvSpPr>
        <p:spPr>
          <a:xfrm>
            <a:off x="9249975" y="1989138"/>
            <a:ext cx="1980000" cy="1260000"/>
          </a:xfrm>
          <a:solidFill>
            <a:schemeClr val="bg2"/>
          </a:solidFill>
        </p:spPr>
        <p:txBody>
          <a:bodyPr/>
          <a:lstStyle>
            <a:lvl1pPr marL="0" indent="0">
              <a:buNone/>
              <a:defRPr/>
            </a:lvl1pPr>
          </a:lstStyle>
          <a:p>
            <a:r>
              <a:rPr lang="en-US" dirty="0"/>
              <a:t>   </a:t>
            </a:r>
          </a:p>
        </p:txBody>
      </p:sp>
      <p:sp>
        <p:nvSpPr>
          <p:cNvPr id="41" name="Text Placeholder 40">
            <a:extLst>
              <a:ext uri="{FF2B5EF4-FFF2-40B4-BE49-F238E27FC236}">
                <a16:creationId xmlns:a16="http://schemas.microsoft.com/office/drawing/2014/main" id="{89F663D9-C727-4763-8873-73F7F3E71243}"/>
              </a:ext>
            </a:extLst>
          </p:cNvPr>
          <p:cNvSpPr>
            <a:spLocks noGrp="1"/>
          </p:cNvSpPr>
          <p:nvPr>
            <p:ph type="body" sz="quarter" idx="59" hasCustomPrompt="1"/>
          </p:nvPr>
        </p:nvSpPr>
        <p:spPr>
          <a:xfrm>
            <a:off x="9249975" y="3328548"/>
            <a:ext cx="1980000" cy="612000"/>
          </a:xfrm>
        </p:spPr>
        <p:txBody>
          <a:bodyPr>
            <a:noAutofit/>
          </a:bodyPr>
          <a:lstStyle>
            <a:lvl1pPr marL="0" indent="0">
              <a:lnSpc>
                <a:spcPct val="120000"/>
              </a:lnSpc>
              <a:buNone/>
              <a:defRPr sz="12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p:txBody>
      </p:sp>
      <p:sp>
        <p:nvSpPr>
          <p:cNvPr id="4" name="Logo Placeholder 30">
            <a:extLst>
              <a:ext uri="{FF2B5EF4-FFF2-40B4-BE49-F238E27FC236}">
                <a16:creationId xmlns:a16="http://schemas.microsoft.com/office/drawing/2014/main" id="{402693B5-9834-679C-6F1E-6E8F64EA34D0}"/>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Business Unit Placeholder 28">
            <a:extLst>
              <a:ext uri="{FF2B5EF4-FFF2-40B4-BE49-F238E27FC236}">
                <a16:creationId xmlns:a16="http://schemas.microsoft.com/office/drawing/2014/main" id="{4852B581-0DF8-5259-4607-188DF311AEF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4897019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XES | 4 Medium Pictures">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0" cy="332398"/>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6" name="Picture Placeholder 5">
            <a:extLst>
              <a:ext uri="{FF2B5EF4-FFF2-40B4-BE49-F238E27FC236}">
                <a16:creationId xmlns:a16="http://schemas.microsoft.com/office/drawing/2014/main" id="{B6F1151D-E348-3BC1-D5A0-5F9AB52AB8E0}"/>
              </a:ext>
            </a:extLst>
          </p:cNvPr>
          <p:cNvSpPr>
            <a:spLocks noGrp="1"/>
          </p:cNvSpPr>
          <p:nvPr>
            <p:ph type="pic" sz="quarter" idx="22" hasCustomPrompt="1"/>
          </p:nvPr>
        </p:nvSpPr>
        <p:spPr>
          <a:xfrm>
            <a:off x="968375" y="1989138"/>
            <a:ext cx="2448000" cy="4260850"/>
          </a:xfrm>
          <a:solidFill>
            <a:schemeClr val="bg2"/>
          </a:solidFill>
        </p:spPr>
        <p:txBody>
          <a:bodyPr/>
          <a:lstStyle>
            <a:lvl1pPr marL="0" indent="0">
              <a:buNone/>
              <a:defRPr/>
            </a:lvl1pPr>
          </a:lstStyle>
          <a:p>
            <a:r>
              <a:rPr lang="en-US" dirty="0"/>
              <a:t>   </a:t>
            </a:r>
          </a:p>
        </p:txBody>
      </p:sp>
      <p:sp>
        <p:nvSpPr>
          <p:cNvPr id="7" name="Picture Placeholder 5">
            <a:extLst>
              <a:ext uri="{FF2B5EF4-FFF2-40B4-BE49-F238E27FC236}">
                <a16:creationId xmlns:a16="http://schemas.microsoft.com/office/drawing/2014/main" id="{F2DF4848-3243-3DAB-5690-048FDBA0E216}"/>
              </a:ext>
            </a:extLst>
          </p:cNvPr>
          <p:cNvSpPr>
            <a:spLocks noGrp="1"/>
          </p:cNvSpPr>
          <p:nvPr>
            <p:ph type="pic" sz="quarter" idx="23" hasCustomPrompt="1"/>
          </p:nvPr>
        </p:nvSpPr>
        <p:spPr>
          <a:xfrm>
            <a:off x="3570791" y="1989138"/>
            <a:ext cx="2448000" cy="4260850"/>
          </a:xfrm>
          <a:solidFill>
            <a:schemeClr val="bg2"/>
          </a:solidFill>
        </p:spPr>
        <p:txBody>
          <a:bodyPr/>
          <a:lstStyle>
            <a:lvl1pPr marL="0" indent="0">
              <a:buNone/>
              <a:defRPr/>
            </a:lvl1pPr>
          </a:lstStyle>
          <a:p>
            <a:r>
              <a:rPr lang="en-US" dirty="0"/>
              <a:t>   </a:t>
            </a:r>
          </a:p>
        </p:txBody>
      </p:sp>
      <p:sp>
        <p:nvSpPr>
          <p:cNvPr id="9" name="Picture Placeholder 5">
            <a:extLst>
              <a:ext uri="{FF2B5EF4-FFF2-40B4-BE49-F238E27FC236}">
                <a16:creationId xmlns:a16="http://schemas.microsoft.com/office/drawing/2014/main" id="{C890FB19-4E93-9A71-88FA-B8FBFABD881C}"/>
              </a:ext>
            </a:extLst>
          </p:cNvPr>
          <p:cNvSpPr>
            <a:spLocks noGrp="1"/>
          </p:cNvSpPr>
          <p:nvPr>
            <p:ph type="pic" sz="quarter" idx="24" hasCustomPrompt="1"/>
          </p:nvPr>
        </p:nvSpPr>
        <p:spPr>
          <a:xfrm>
            <a:off x="6173209" y="1989138"/>
            <a:ext cx="2448000" cy="4260850"/>
          </a:xfrm>
          <a:solidFill>
            <a:schemeClr val="bg2"/>
          </a:solidFill>
        </p:spPr>
        <p:txBody>
          <a:bodyPr/>
          <a:lstStyle>
            <a:lvl1pPr marL="0" indent="0">
              <a:buNone/>
              <a:defRPr/>
            </a:lvl1pPr>
          </a:lstStyle>
          <a:p>
            <a:r>
              <a:rPr lang="en-US" dirty="0"/>
              <a:t>   </a:t>
            </a:r>
          </a:p>
        </p:txBody>
      </p:sp>
      <p:sp>
        <p:nvSpPr>
          <p:cNvPr id="10" name="Picture Placeholder 5">
            <a:extLst>
              <a:ext uri="{FF2B5EF4-FFF2-40B4-BE49-F238E27FC236}">
                <a16:creationId xmlns:a16="http://schemas.microsoft.com/office/drawing/2014/main" id="{7A10DB92-6402-F81F-E886-A5A9AF1731FD}"/>
              </a:ext>
            </a:extLst>
          </p:cNvPr>
          <p:cNvSpPr>
            <a:spLocks noGrp="1"/>
          </p:cNvSpPr>
          <p:nvPr>
            <p:ph type="pic" sz="quarter" idx="25" hasCustomPrompt="1"/>
          </p:nvPr>
        </p:nvSpPr>
        <p:spPr>
          <a:xfrm>
            <a:off x="8775625" y="1989138"/>
            <a:ext cx="2448000" cy="4260850"/>
          </a:xfrm>
          <a:solidFill>
            <a:schemeClr val="bg2"/>
          </a:solidFill>
        </p:spPr>
        <p:txBody>
          <a:bodyPr/>
          <a:lstStyle>
            <a:lvl1pPr marL="0" indent="0">
              <a:buNone/>
              <a:defRPr/>
            </a:lvl1pPr>
          </a:lstStyle>
          <a:p>
            <a:r>
              <a:rPr lang="en-US" dirty="0"/>
              <a:t>   </a:t>
            </a:r>
          </a:p>
        </p:txBody>
      </p:sp>
      <p:sp>
        <p:nvSpPr>
          <p:cNvPr id="13" name="Picture Placeholder 5">
            <a:extLst>
              <a:ext uri="{FF2B5EF4-FFF2-40B4-BE49-F238E27FC236}">
                <a16:creationId xmlns:a16="http://schemas.microsoft.com/office/drawing/2014/main" id="{96CEE960-6FB1-4539-F039-9BB207AA9E18}"/>
              </a:ext>
            </a:extLst>
          </p:cNvPr>
          <p:cNvSpPr>
            <a:spLocks noGrp="1"/>
          </p:cNvSpPr>
          <p:nvPr>
            <p:ph type="pic" sz="quarter" idx="26" hasCustomPrompt="1"/>
          </p:nvPr>
        </p:nvSpPr>
        <p:spPr>
          <a:xfrm>
            <a:off x="968375" y="4143982"/>
            <a:ext cx="2448000" cy="2037182"/>
          </a:xfrm>
          <a:gradFill>
            <a:gsLst>
              <a:gs pos="0">
                <a:srgbClr val="CCD4D9">
                  <a:alpha val="0"/>
                </a:srgbClr>
              </a:gs>
              <a:gs pos="100000">
                <a:srgbClr val="FFFFFF"/>
              </a:gs>
            </a:gsLst>
            <a:lin ang="5400000" scaled="0"/>
          </a:gradFill>
        </p:spPr>
        <p:txBody>
          <a:bodyPr/>
          <a:lstStyle>
            <a:lvl1pPr marL="0" indent="0">
              <a:buNone/>
              <a:defRPr/>
            </a:lvl1pPr>
          </a:lstStyle>
          <a:p>
            <a:r>
              <a:rPr lang="en-US" dirty="0"/>
              <a:t>   </a:t>
            </a:r>
          </a:p>
        </p:txBody>
      </p:sp>
      <p:sp>
        <p:nvSpPr>
          <p:cNvPr id="14" name="Picture Placeholder 5">
            <a:extLst>
              <a:ext uri="{FF2B5EF4-FFF2-40B4-BE49-F238E27FC236}">
                <a16:creationId xmlns:a16="http://schemas.microsoft.com/office/drawing/2014/main" id="{D4ED93C0-913A-A7B2-1DE7-FF2AEF69C19D}"/>
              </a:ext>
            </a:extLst>
          </p:cNvPr>
          <p:cNvSpPr>
            <a:spLocks noGrp="1"/>
          </p:cNvSpPr>
          <p:nvPr>
            <p:ph type="pic" sz="quarter" idx="27" hasCustomPrompt="1"/>
          </p:nvPr>
        </p:nvSpPr>
        <p:spPr>
          <a:xfrm>
            <a:off x="3570791" y="4143982"/>
            <a:ext cx="2448000" cy="2037182"/>
          </a:xfrm>
          <a:gradFill>
            <a:gsLst>
              <a:gs pos="0">
                <a:srgbClr val="CCD4D9">
                  <a:alpha val="0"/>
                </a:srgbClr>
              </a:gs>
              <a:gs pos="100000">
                <a:srgbClr val="FFFFFF"/>
              </a:gs>
            </a:gsLst>
            <a:lin ang="5400000" scaled="0"/>
          </a:gradFill>
        </p:spPr>
        <p:txBody>
          <a:bodyPr/>
          <a:lstStyle>
            <a:lvl1pPr marL="0" indent="0">
              <a:buNone/>
              <a:defRPr/>
            </a:lvl1pPr>
          </a:lstStyle>
          <a:p>
            <a:r>
              <a:rPr lang="en-US" dirty="0"/>
              <a:t>   </a:t>
            </a:r>
          </a:p>
        </p:txBody>
      </p:sp>
      <p:sp>
        <p:nvSpPr>
          <p:cNvPr id="15" name="Picture Placeholder 5">
            <a:extLst>
              <a:ext uri="{FF2B5EF4-FFF2-40B4-BE49-F238E27FC236}">
                <a16:creationId xmlns:a16="http://schemas.microsoft.com/office/drawing/2014/main" id="{494580D3-592E-41C8-8C41-524190A34E07}"/>
              </a:ext>
            </a:extLst>
          </p:cNvPr>
          <p:cNvSpPr>
            <a:spLocks noGrp="1"/>
          </p:cNvSpPr>
          <p:nvPr>
            <p:ph type="pic" sz="quarter" idx="28" hasCustomPrompt="1"/>
          </p:nvPr>
        </p:nvSpPr>
        <p:spPr>
          <a:xfrm>
            <a:off x="6173209" y="4143982"/>
            <a:ext cx="2448000" cy="2037182"/>
          </a:xfrm>
          <a:gradFill>
            <a:gsLst>
              <a:gs pos="0">
                <a:srgbClr val="CCD4D9">
                  <a:alpha val="0"/>
                </a:srgbClr>
              </a:gs>
              <a:gs pos="100000">
                <a:srgbClr val="FFFFFF"/>
              </a:gs>
            </a:gsLst>
            <a:lin ang="5400000" scaled="0"/>
          </a:gradFill>
        </p:spPr>
        <p:txBody>
          <a:bodyPr/>
          <a:lstStyle>
            <a:lvl1pPr marL="0" indent="0">
              <a:buNone/>
              <a:defRPr/>
            </a:lvl1pPr>
          </a:lstStyle>
          <a:p>
            <a:r>
              <a:rPr lang="en-US" dirty="0"/>
              <a:t>   </a:t>
            </a:r>
          </a:p>
        </p:txBody>
      </p:sp>
      <p:sp>
        <p:nvSpPr>
          <p:cNvPr id="16" name="Picture Placeholder 5">
            <a:extLst>
              <a:ext uri="{FF2B5EF4-FFF2-40B4-BE49-F238E27FC236}">
                <a16:creationId xmlns:a16="http://schemas.microsoft.com/office/drawing/2014/main" id="{95A2B3CA-88EC-A67A-EA7F-60ADD42F0533}"/>
              </a:ext>
            </a:extLst>
          </p:cNvPr>
          <p:cNvSpPr>
            <a:spLocks noGrp="1"/>
          </p:cNvSpPr>
          <p:nvPr>
            <p:ph type="pic" sz="quarter" idx="29" hasCustomPrompt="1"/>
          </p:nvPr>
        </p:nvSpPr>
        <p:spPr>
          <a:xfrm>
            <a:off x="8775625" y="4212806"/>
            <a:ext cx="2448000" cy="2037182"/>
          </a:xfrm>
          <a:gradFill>
            <a:gsLst>
              <a:gs pos="0">
                <a:srgbClr val="CCD4D9">
                  <a:alpha val="0"/>
                </a:srgbClr>
              </a:gs>
              <a:gs pos="100000">
                <a:srgbClr val="FFFFFF"/>
              </a:gs>
            </a:gsLst>
            <a:lin ang="5400000" scaled="0"/>
          </a:gradFill>
        </p:spPr>
        <p:txBody>
          <a:bodyPr/>
          <a:lstStyle>
            <a:lvl1pPr marL="0" indent="0">
              <a:buNone/>
              <a:defRPr/>
            </a:lvl1pPr>
          </a:lstStyle>
          <a:p>
            <a:r>
              <a:rPr lang="en-US" dirty="0"/>
              <a:t>   </a:t>
            </a:r>
          </a:p>
        </p:txBody>
      </p:sp>
      <p:sp>
        <p:nvSpPr>
          <p:cNvPr id="17" name="Text Placeholder 36">
            <a:extLst>
              <a:ext uri="{FF2B5EF4-FFF2-40B4-BE49-F238E27FC236}">
                <a16:creationId xmlns:a16="http://schemas.microsoft.com/office/drawing/2014/main" id="{28CF77C0-29E9-6B51-9936-CA39A2508787}"/>
              </a:ext>
            </a:extLst>
          </p:cNvPr>
          <p:cNvSpPr>
            <a:spLocks noGrp="1"/>
          </p:cNvSpPr>
          <p:nvPr>
            <p:ph type="body" sz="quarter" idx="33" hasCustomPrompt="1"/>
          </p:nvPr>
        </p:nvSpPr>
        <p:spPr>
          <a:xfrm>
            <a:off x="1071009" y="4889652"/>
            <a:ext cx="2242732" cy="307777"/>
          </a:xfrm>
        </p:spPr>
        <p:txBody>
          <a:bodyPr>
            <a:normAutofit/>
          </a:bodyPr>
          <a:lstStyle>
            <a:lvl1pPr marL="0" indent="0">
              <a:buNone/>
              <a:defRPr sz="2000" b="1">
                <a:solidFill>
                  <a:schemeClr val="accent1"/>
                </a:solidFill>
                <a:latin typeface="+mn-lt"/>
              </a:defRPr>
            </a:lvl1pPr>
          </a:lstStyle>
          <a:p>
            <a:pPr lvl="0"/>
            <a:r>
              <a:rPr lang="en-US" dirty="0"/>
              <a:t>Title</a:t>
            </a:r>
          </a:p>
        </p:txBody>
      </p:sp>
      <p:sp>
        <p:nvSpPr>
          <p:cNvPr id="18" name="Text Placeholder 40">
            <a:extLst>
              <a:ext uri="{FF2B5EF4-FFF2-40B4-BE49-F238E27FC236}">
                <a16:creationId xmlns:a16="http://schemas.microsoft.com/office/drawing/2014/main" id="{5FE0CE9C-1C07-151F-6199-3D2A3C176C1F}"/>
              </a:ext>
            </a:extLst>
          </p:cNvPr>
          <p:cNvSpPr>
            <a:spLocks noGrp="1"/>
          </p:cNvSpPr>
          <p:nvPr>
            <p:ph type="body" sz="quarter" idx="36" hasCustomPrompt="1"/>
          </p:nvPr>
        </p:nvSpPr>
        <p:spPr>
          <a:xfrm>
            <a:off x="1067973" y="5245444"/>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19" name="Text Placeholder 36">
            <a:extLst>
              <a:ext uri="{FF2B5EF4-FFF2-40B4-BE49-F238E27FC236}">
                <a16:creationId xmlns:a16="http://schemas.microsoft.com/office/drawing/2014/main" id="{FE0E51F4-F938-CA11-B5DD-FD1C10C9C536}"/>
              </a:ext>
            </a:extLst>
          </p:cNvPr>
          <p:cNvSpPr>
            <a:spLocks noGrp="1"/>
          </p:cNvSpPr>
          <p:nvPr>
            <p:ph type="body" sz="quarter" idx="37" hasCustomPrompt="1"/>
          </p:nvPr>
        </p:nvSpPr>
        <p:spPr>
          <a:xfrm>
            <a:off x="3673425" y="4889652"/>
            <a:ext cx="2242732" cy="307777"/>
          </a:xfrm>
        </p:spPr>
        <p:txBody>
          <a:bodyPr>
            <a:normAutofit/>
          </a:bodyPr>
          <a:lstStyle>
            <a:lvl1pPr marL="0" indent="0">
              <a:buNone/>
              <a:defRPr sz="2000" b="1">
                <a:solidFill>
                  <a:schemeClr val="accent1"/>
                </a:solidFill>
                <a:latin typeface="+mn-lt"/>
              </a:defRPr>
            </a:lvl1pPr>
          </a:lstStyle>
          <a:p>
            <a:pPr lvl="0"/>
            <a:r>
              <a:rPr lang="en-US" dirty="0"/>
              <a:t>Title</a:t>
            </a:r>
          </a:p>
        </p:txBody>
      </p:sp>
      <p:sp>
        <p:nvSpPr>
          <p:cNvPr id="20" name="Text Placeholder 40">
            <a:extLst>
              <a:ext uri="{FF2B5EF4-FFF2-40B4-BE49-F238E27FC236}">
                <a16:creationId xmlns:a16="http://schemas.microsoft.com/office/drawing/2014/main" id="{4D269557-57A4-E67D-A9CD-A6145D43BE01}"/>
              </a:ext>
            </a:extLst>
          </p:cNvPr>
          <p:cNvSpPr>
            <a:spLocks noGrp="1"/>
          </p:cNvSpPr>
          <p:nvPr>
            <p:ph type="body" sz="quarter" idx="38" hasCustomPrompt="1"/>
          </p:nvPr>
        </p:nvSpPr>
        <p:spPr>
          <a:xfrm>
            <a:off x="3670389" y="5245444"/>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21" name="Text Placeholder 36">
            <a:extLst>
              <a:ext uri="{FF2B5EF4-FFF2-40B4-BE49-F238E27FC236}">
                <a16:creationId xmlns:a16="http://schemas.microsoft.com/office/drawing/2014/main" id="{8DDD6F41-D1A1-C80A-D8B1-B34F3498C5D8}"/>
              </a:ext>
            </a:extLst>
          </p:cNvPr>
          <p:cNvSpPr>
            <a:spLocks noGrp="1"/>
          </p:cNvSpPr>
          <p:nvPr>
            <p:ph type="body" sz="quarter" idx="39" hasCustomPrompt="1"/>
          </p:nvPr>
        </p:nvSpPr>
        <p:spPr>
          <a:xfrm>
            <a:off x="6275843" y="4889652"/>
            <a:ext cx="2242732" cy="307777"/>
          </a:xfrm>
        </p:spPr>
        <p:txBody>
          <a:bodyPr>
            <a:normAutofit/>
          </a:bodyPr>
          <a:lstStyle>
            <a:lvl1pPr marL="0" indent="0">
              <a:buNone/>
              <a:defRPr sz="2000" b="1">
                <a:solidFill>
                  <a:schemeClr val="accent1"/>
                </a:solidFill>
                <a:latin typeface="+mn-lt"/>
              </a:defRPr>
            </a:lvl1pPr>
          </a:lstStyle>
          <a:p>
            <a:pPr lvl="0"/>
            <a:r>
              <a:rPr lang="en-US" dirty="0"/>
              <a:t>Title</a:t>
            </a:r>
          </a:p>
        </p:txBody>
      </p:sp>
      <p:sp>
        <p:nvSpPr>
          <p:cNvPr id="22" name="Text Placeholder 40">
            <a:extLst>
              <a:ext uri="{FF2B5EF4-FFF2-40B4-BE49-F238E27FC236}">
                <a16:creationId xmlns:a16="http://schemas.microsoft.com/office/drawing/2014/main" id="{777DDBA2-A1EC-DB4D-E1D2-6A52D04062ED}"/>
              </a:ext>
            </a:extLst>
          </p:cNvPr>
          <p:cNvSpPr>
            <a:spLocks noGrp="1"/>
          </p:cNvSpPr>
          <p:nvPr>
            <p:ph type="body" sz="quarter" idx="40" hasCustomPrompt="1"/>
          </p:nvPr>
        </p:nvSpPr>
        <p:spPr>
          <a:xfrm>
            <a:off x="6272807" y="5245444"/>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23" name="Text Placeholder 36">
            <a:extLst>
              <a:ext uri="{FF2B5EF4-FFF2-40B4-BE49-F238E27FC236}">
                <a16:creationId xmlns:a16="http://schemas.microsoft.com/office/drawing/2014/main" id="{0194E5B7-3CAD-7CE0-63EA-4E57791DCE99}"/>
              </a:ext>
            </a:extLst>
          </p:cNvPr>
          <p:cNvSpPr>
            <a:spLocks noGrp="1"/>
          </p:cNvSpPr>
          <p:nvPr>
            <p:ph type="body" sz="quarter" idx="41" hasCustomPrompt="1"/>
          </p:nvPr>
        </p:nvSpPr>
        <p:spPr>
          <a:xfrm>
            <a:off x="8878259" y="4820828"/>
            <a:ext cx="2242732" cy="307777"/>
          </a:xfrm>
        </p:spPr>
        <p:txBody>
          <a:bodyPr>
            <a:normAutofit/>
          </a:bodyPr>
          <a:lstStyle>
            <a:lvl1pPr marL="0" indent="0">
              <a:buNone/>
              <a:defRPr sz="2000" b="1">
                <a:solidFill>
                  <a:schemeClr val="accent1"/>
                </a:solidFill>
              </a:defRPr>
            </a:lvl1pPr>
          </a:lstStyle>
          <a:p>
            <a:pPr lvl="0"/>
            <a:r>
              <a:rPr lang="en-US" dirty="0"/>
              <a:t>Title</a:t>
            </a:r>
          </a:p>
        </p:txBody>
      </p:sp>
      <p:sp>
        <p:nvSpPr>
          <p:cNvPr id="24" name="Text Placeholder 40">
            <a:extLst>
              <a:ext uri="{FF2B5EF4-FFF2-40B4-BE49-F238E27FC236}">
                <a16:creationId xmlns:a16="http://schemas.microsoft.com/office/drawing/2014/main" id="{E9D9FAAD-103D-0D4B-598E-D398A1D01D65}"/>
              </a:ext>
            </a:extLst>
          </p:cNvPr>
          <p:cNvSpPr>
            <a:spLocks noGrp="1"/>
          </p:cNvSpPr>
          <p:nvPr>
            <p:ph type="body" sz="quarter" idx="42" hasCustomPrompt="1"/>
          </p:nvPr>
        </p:nvSpPr>
        <p:spPr>
          <a:xfrm>
            <a:off x="8875223" y="5245444"/>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4" name="Logo Placeholder 30">
            <a:extLst>
              <a:ext uri="{FF2B5EF4-FFF2-40B4-BE49-F238E27FC236}">
                <a16:creationId xmlns:a16="http://schemas.microsoft.com/office/drawing/2014/main" id="{1FBF6E6C-6FAD-531C-DB7A-4ED9637B0E5B}"/>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1" name="Business Unit Placeholder 28">
            <a:extLst>
              <a:ext uri="{FF2B5EF4-FFF2-40B4-BE49-F238E27FC236}">
                <a16:creationId xmlns:a16="http://schemas.microsoft.com/office/drawing/2014/main" id="{64DB9C5D-E113-D04D-5E59-40552BBA6A9C}"/>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5131635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XES | 3 Large Pictures - BLUE &amp; GRAY">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6F15DC63-EF47-BD63-10C9-7C7DFEF9783A}"/>
              </a:ext>
            </a:extLst>
          </p:cNvPr>
          <p:cNvSpPr>
            <a:spLocks noGrp="1"/>
          </p:cNvSpPr>
          <p:nvPr>
            <p:ph type="pic" sz="quarter" idx="24" hasCustomPrompt="1"/>
          </p:nvPr>
        </p:nvSpPr>
        <p:spPr>
          <a:xfrm>
            <a:off x="-1" y="4042611"/>
            <a:ext cx="4039199" cy="2815389"/>
          </a:xfrm>
          <a:gradFill>
            <a:gsLst>
              <a:gs pos="0">
                <a:schemeClr val="bg2">
                  <a:alpha val="0"/>
                </a:schemeClr>
              </a:gs>
              <a:gs pos="100000">
                <a:schemeClr val="bg2"/>
              </a:gs>
            </a:gsLst>
            <a:lin ang="5400000" scaled="0"/>
          </a:gradFill>
        </p:spPr>
        <p:txBody>
          <a:bodyPr/>
          <a:lstStyle>
            <a:lvl1pPr marL="0" indent="0">
              <a:buNone/>
              <a:defRPr/>
            </a:lvl1pPr>
          </a:lstStyle>
          <a:p>
            <a:r>
              <a:rPr lang="en-US" dirty="0"/>
              <a:t>   </a:t>
            </a:r>
          </a:p>
        </p:txBody>
      </p:sp>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4039200" cy="6858000"/>
          </a:xfrm>
        </p:spPr>
        <p:txBody>
          <a:bodyPr/>
          <a:lstStyle>
            <a:lvl1pPr marL="0" indent="0">
              <a:buNone/>
              <a:defRPr>
                <a:solidFill>
                  <a:schemeClr val="bg1"/>
                </a:solidFill>
              </a:defRPr>
            </a:lvl1pPr>
          </a:lstStyle>
          <a:p>
            <a:r>
              <a:rPr lang="en-US" dirty="0"/>
              <a:t>  </a:t>
            </a:r>
          </a:p>
        </p:txBody>
      </p:sp>
      <p:sp>
        <p:nvSpPr>
          <p:cNvPr id="6" name="Background Placeholder 6">
            <a:extLst>
              <a:ext uri="{FF2B5EF4-FFF2-40B4-BE49-F238E27FC236}">
                <a16:creationId xmlns:a16="http://schemas.microsoft.com/office/drawing/2014/main" id="{5B181085-BB76-E921-D1BA-EE3B12AA0F35}"/>
              </a:ext>
            </a:extLst>
          </p:cNvPr>
          <p:cNvSpPr>
            <a:spLocks noGrp="1"/>
          </p:cNvSpPr>
          <p:nvPr>
            <p:ph type="pic" sz="quarter" idx="22" hasCustomPrompt="1"/>
          </p:nvPr>
        </p:nvSpPr>
        <p:spPr>
          <a:xfrm>
            <a:off x="4039200" y="-11578"/>
            <a:ext cx="4059909" cy="6881156"/>
          </a:xfrm>
          <a:solidFill>
            <a:schemeClr val="bg1">
              <a:lumMod val="85000"/>
            </a:schemeClr>
          </a:solidFill>
        </p:spPr>
        <p:txBody>
          <a:bodyPr/>
          <a:lstStyle>
            <a:lvl1pPr marL="0" indent="0">
              <a:buNone/>
              <a:defRPr>
                <a:solidFill>
                  <a:schemeClr val="bg1"/>
                </a:solidFill>
              </a:defRPr>
            </a:lvl1pPr>
          </a:lstStyle>
          <a:p>
            <a:r>
              <a:rPr lang="en-US" dirty="0"/>
              <a:t>  </a:t>
            </a:r>
          </a:p>
        </p:txBody>
      </p:sp>
      <p:sp>
        <p:nvSpPr>
          <p:cNvPr id="11" name="Background Placeholder 6">
            <a:extLst>
              <a:ext uri="{FF2B5EF4-FFF2-40B4-BE49-F238E27FC236}">
                <a16:creationId xmlns:a16="http://schemas.microsoft.com/office/drawing/2014/main" id="{29D7C9A9-9C7B-0A7B-EBB0-2206E83F2A3D}"/>
              </a:ext>
            </a:extLst>
          </p:cNvPr>
          <p:cNvSpPr>
            <a:spLocks noGrp="1"/>
          </p:cNvSpPr>
          <p:nvPr>
            <p:ph type="pic" sz="quarter" idx="23" hasCustomPrompt="1"/>
          </p:nvPr>
        </p:nvSpPr>
        <p:spPr>
          <a:xfrm>
            <a:off x="8099108" y="0"/>
            <a:ext cx="4092891" cy="6858000"/>
          </a:xfrm>
          <a:solidFill>
            <a:schemeClr val="bg1">
              <a:lumMod val="95000"/>
            </a:schemeClr>
          </a:solidFill>
        </p:spPr>
        <p:txBody>
          <a:bodyPr/>
          <a:lstStyle>
            <a:lvl1pPr marL="0" indent="0">
              <a:buNone/>
              <a:defRPr>
                <a:solidFill>
                  <a:schemeClr val="bg1"/>
                </a:solidFill>
              </a:defRPr>
            </a:lvl1pPr>
          </a:lstStyle>
          <a:p>
            <a:r>
              <a:rPr lang="en-US" dirty="0"/>
              <a:t>  </a:t>
            </a:r>
          </a:p>
        </p:txBody>
      </p:sp>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05BE99D-09AF-41E9-A560-00A3350C0DD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52499" y="750888"/>
            <a:ext cx="4422775" cy="1264921"/>
          </a:xfrm>
        </p:spPr>
        <p:txBody>
          <a:bodyPr anchor="t"/>
          <a:lstStyle>
            <a:lvl1pPr>
              <a:lnSpc>
                <a:spcPct val="80000"/>
              </a:lnSpc>
              <a:defRPr sz="5400">
                <a:latin typeface="+mj-lt"/>
              </a:defRPr>
            </a:lvl1pPr>
          </a:lstStyle>
          <a:p>
            <a:r>
              <a:rPr lang="en-US" dirty="0"/>
              <a:t>very large headline</a:t>
            </a:r>
          </a:p>
        </p:txBody>
      </p:sp>
      <p:sp>
        <p:nvSpPr>
          <p:cNvPr id="19" name="Picture Placeholder 17">
            <a:extLst>
              <a:ext uri="{FF2B5EF4-FFF2-40B4-BE49-F238E27FC236}">
                <a16:creationId xmlns:a16="http://schemas.microsoft.com/office/drawing/2014/main" id="{FFCDD7A1-5DE2-37B8-3B3F-0E33ED92FDD4}"/>
              </a:ext>
            </a:extLst>
          </p:cNvPr>
          <p:cNvSpPr>
            <a:spLocks noGrp="1"/>
          </p:cNvSpPr>
          <p:nvPr>
            <p:ph type="pic" sz="quarter" idx="25" hasCustomPrompt="1"/>
          </p:nvPr>
        </p:nvSpPr>
        <p:spPr>
          <a:xfrm>
            <a:off x="4039198" y="4053597"/>
            <a:ext cx="4056821" cy="2815389"/>
          </a:xfrm>
          <a:gradFill>
            <a:gsLst>
              <a:gs pos="0">
                <a:schemeClr val="bg1">
                  <a:alpha val="0"/>
                </a:schemeClr>
              </a:gs>
              <a:gs pos="100000">
                <a:schemeClr val="bg1"/>
              </a:gs>
            </a:gsLst>
            <a:lin ang="5400000" scaled="0"/>
          </a:gradFill>
        </p:spPr>
        <p:txBody>
          <a:bodyPr/>
          <a:lstStyle>
            <a:lvl1pPr marL="0" indent="0">
              <a:buNone/>
              <a:defRPr/>
            </a:lvl1pPr>
          </a:lstStyle>
          <a:p>
            <a:r>
              <a:rPr lang="en-US" dirty="0"/>
              <a:t>   </a:t>
            </a:r>
          </a:p>
        </p:txBody>
      </p:sp>
      <p:sp>
        <p:nvSpPr>
          <p:cNvPr id="20" name="Picture Placeholder 17">
            <a:extLst>
              <a:ext uri="{FF2B5EF4-FFF2-40B4-BE49-F238E27FC236}">
                <a16:creationId xmlns:a16="http://schemas.microsoft.com/office/drawing/2014/main" id="{FAA788CE-E1E0-7A4B-0E4D-444AC6B210DA}"/>
              </a:ext>
            </a:extLst>
          </p:cNvPr>
          <p:cNvSpPr>
            <a:spLocks noGrp="1"/>
          </p:cNvSpPr>
          <p:nvPr>
            <p:ph type="pic" sz="quarter" idx="26" hasCustomPrompt="1"/>
          </p:nvPr>
        </p:nvSpPr>
        <p:spPr>
          <a:xfrm>
            <a:off x="8099107" y="4042611"/>
            <a:ext cx="4092893" cy="2815389"/>
          </a:xfrm>
          <a:gradFill>
            <a:gsLst>
              <a:gs pos="0">
                <a:schemeClr val="bg2">
                  <a:alpha val="0"/>
                </a:schemeClr>
              </a:gs>
              <a:gs pos="100000">
                <a:schemeClr val="bg2"/>
              </a:gs>
            </a:gsLst>
            <a:lin ang="5400000" scaled="0"/>
          </a:gradFill>
        </p:spPr>
        <p:txBody>
          <a:bodyPr/>
          <a:lstStyle>
            <a:lvl1pPr marL="0" indent="0">
              <a:buNone/>
              <a:defRPr/>
            </a:lvl1pPr>
          </a:lstStyle>
          <a:p>
            <a:r>
              <a:rPr lang="en-US" dirty="0"/>
              <a:t>   </a:t>
            </a:r>
          </a:p>
        </p:txBody>
      </p:sp>
      <p:sp>
        <p:nvSpPr>
          <p:cNvPr id="27" name="Picture Placeholder 26">
            <a:extLst>
              <a:ext uri="{FF2B5EF4-FFF2-40B4-BE49-F238E27FC236}">
                <a16:creationId xmlns:a16="http://schemas.microsoft.com/office/drawing/2014/main" id="{D6F80EE4-FF92-9529-CCE7-BEF8E94CFB4F}"/>
              </a:ext>
            </a:extLst>
          </p:cNvPr>
          <p:cNvSpPr>
            <a:spLocks noGrp="1"/>
          </p:cNvSpPr>
          <p:nvPr>
            <p:ph type="pic" sz="quarter" idx="27" hasCustomPrompt="1"/>
          </p:nvPr>
        </p:nvSpPr>
        <p:spPr>
          <a:xfrm>
            <a:off x="581853" y="4716765"/>
            <a:ext cx="358590" cy="358590"/>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lvl1pPr>
          </a:lstStyle>
          <a:p>
            <a:r>
              <a:rPr lang="en-US" dirty="0"/>
              <a:t>   </a:t>
            </a:r>
          </a:p>
        </p:txBody>
      </p:sp>
      <p:sp>
        <p:nvSpPr>
          <p:cNvPr id="28" name="Picture Placeholder 26">
            <a:extLst>
              <a:ext uri="{FF2B5EF4-FFF2-40B4-BE49-F238E27FC236}">
                <a16:creationId xmlns:a16="http://schemas.microsoft.com/office/drawing/2014/main" id="{A9172F54-BE81-0E0E-DE3D-E39F2EB1A0E5}"/>
              </a:ext>
            </a:extLst>
          </p:cNvPr>
          <p:cNvSpPr>
            <a:spLocks noGrp="1"/>
          </p:cNvSpPr>
          <p:nvPr>
            <p:ph type="pic" sz="quarter" idx="28" hasCustomPrompt="1"/>
          </p:nvPr>
        </p:nvSpPr>
        <p:spPr>
          <a:xfrm>
            <a:off x="4666180" y="4716765"/>
            <a:ext cx="358590" cy="358590"/>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lvl1pPr>
          </a:lstStyle>
          <a:p>
            <a:r>
              <a:rPr lang="en-US" dirty="0"/>
              <a:t>   </a:t>
            </a:r>
          </a:p>
        </p:txBody>
      </p:sp>
      <p:sp>
        <p:nvSpPr>
          <p:cNvPr id="30" name="Picture Placeholder 26">
            <a:extLst>
              <a:ext uri="{FF2B5EF4-FFF2-40B4-BE49-F238E27FC236}">
                <a16:creationId xmlns:a16="http://schemas.microsoft.com/office/drawing/2014/main" id="{67D726D0-ED6B-DC57-CB8E-1D4F5AD702DD}"/>
              </a:ext>
            </a:extLst>
          </p:cNvPr>
          <p:cNvSpPr>
            <a:spLocks noGrp="1"/>
          </p:cNvSpPr>
          <p:nvPr>
            <p:ph type="pic" sz="quarter" idx="29" hasCustomPrompt="1"/>
          </p:nvPr>
        </p:nvSpPr>
        <p:spPr>
          <a:xfrm>
            <a:off x="8746115" y="4716765"/>
            <a:ext cx="358590" cy="358590"/>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a:lvl1pPr>
          </a:lstStyle>
          <a:p>
            <a:r>
              <a:rPr lang="en-US" dirty="0"/>
              <a:t>   </a:t>
            </a:r>
          </a:p>
        </p:txBody>
      </p:sp>
      <p:sp>
        <p:nvSpPr>
          <p:cNvPr id="33" name="Picture Placeholder 32">
            <a:extLst>
              <a:ext uri="{FF2B5EF4-FFF2-40B4-BE49-F238E27FC236}">
                <a16:creationId xmlns:a16="http://schemas.microsoft.com/office/drawing/2014/main" id="{2188EC0A-5142-174D-DFE9-BD68E4D7A2CC}"/>
              </a:ext>
            </a:extLst>
          </p:cNvPr>
          <p:cNvSpPr>
            <a:spLocks noGrp="1"/>
          </p:cNvSpPr>
          <p:nvPr>
            <p:ph type="pic" sz="quarter" idx="30" hasCustomPrompt="1"/>
          </p:nvPr>
        </p:nvSpPr>
        <p:spPr>
          <a:xfrm>
            <a:off x="1080710" y="6185310"/>
            <a:ext cx="2242732" cy="60959"/>
          </a:xfrm>
          <a:solidFill>
            <a:schemeClr val="accent2"/>
          </a:solidFill>
        </p:spPr>
        <p:txBody>
          <a:bodyPr/>
          <a:lstStyle>
            <a:lvl1pPr marL="0" indent="0">
              <a:buNone/>
              <a:defRPr/>
            </a:lvl1pPr>
          </a:lstStyle>
          <a:p>
            <a:r>
              <a:rPr lang="en-US" dirty="0"/>
              <a:t>     </a:t>
            </a:r>
          </a:p>
        </p:txBody>
      </p:sp>
      <p:sp>
        <p:nvSpPr>
          <p:cNvPr id="34" name="Picture Placeholder 32">
            <a:extLst>
              <a:ext uri="{FF2B5EF4-FFF2-40B4-BE49-F238E27FC236}">
                <a16:creationId xmlns:a16="http://schemas.microsoft.com/office/drawing/2014/main" id="{3A57E4A5-F928-31F2-F793-9AEEE7D3D4FF}"/>
              </a:ext>
            </a:extLst>
          </p:cNvPr>
          <p:cNvSpPr>
            <a:spLocks noGrp="1"/>
          </p:cNvSpPr>
          <p:nvPr>
            <p:ph type="pic" sz="quarter" idx="31" hasCustomPrompt="1"/>
          </p:nvPr>
        </p:nvSpPr>
        <p:spPr>
          <a:xfrm>
            <a:off x="9196895" y="6185310"/>
            <a:ext cx="2242732" cy="60959"/>
          </a:xfrm>
          <a:solidFill>
            <a:schemeClr val="accent2"/>
          </a:solidFill>
        </p:spPr>
        <p:txBody>
          <a:bodyPr/>
          <a:lstStyle>
            <a:lvl1pPr marL="0" indent="0">
              <a:buNone/>
              <a:defRPr/>
            </a:lvl1pPr>
          </a:lstStyle>
          <a:p>
            <a:r>
              <a:rPr lang="en-US" dirty="0"/>
              <a:t>     </a:t>
            </a:r>
          </a:p>
        </p:txBody>
      </p:sp>
      <p:sp>
        <p:nvSpPr>
          <p:cNvPr id="35" name="Picture Placeholder 32">
            <a:extLst>
              <a:ext uri="{FF2B5EF4-FFF2-40B4-BE49-F238E27FC236}">
                <a16:creationId xmlns:a16="http://schemas.microsoft.com/office/drawing/2014/main" id="{946A88F6-5B74-3B29-1340-3EF947C2B64E}"/>
              </a:ext>
            </a:extLst>
          </p:cNvPr>
          <p:cNvSpPr>
            <a:spLocks noGrp="1"/>
          </p:cNvSpPr>
          <p:nvPr>
            <p:ph type="pic" sz="quarter" idx="32" hasCustomPrompt="1"/>
          </p:nvPr>
        </p:nvSpPr>
        <p:spPr>
          <a:xfrm>
            <a:off x="5149435" y="6185310"/>
            <a:ext cx="2242732" cy="60959"/>
          </a:xfrm>
          <a:solidFill>
            <a:schemeClr val="accent2"/>
          </a:solidFill>
        </p:spPr>
        <p:txBody>
          <a:bodyPr/>
          <a:lstStyle>
            <a:lvl1pPr marL="0" indent="0">
              <a:buNone/>
              <a:defRPr/>
            </a:lvl1pPr>
          </a:lstStyle>
          <a:p>
            <a:r>
              <a:rPr lang="en-US" dirty="0"/>
              <a:t>     </a:t>
            </a:r>
          </a:p>
        </p:txBody>
      </p:sp>
      <p:sp>
        <p:nvSpPr>
          <p:cNvPr id="37" name="Text Placeholder 36">
            <a:extLst>
              <a:ext uri="{FF2B5EF4-FFF2-40B4-BE49-F238E27FC236}">
                <a16:creationId xmlns:a16="http://schemas.microsoft.com/office/drawing/2014/main" id="{A3767BCD-543D-2FEA-AB5F-36BE30173E61}"/>
              </a:ext>
            </a:extLst>
          </p:cNvPr>
          <p:cNvSpPr>
            <a:spLocks noGrp="1"/>
          </p:cNvSpPr>
          <p:nvPr>
            <p:ph type="body" sz="quarter" idx="33" hasCustomPrompt="1"/>
          </p:nvPr>
        </p:nvSpPr>
        <p:spPr>
          <a:xfrm>
            <a:off x="1074638" y="4742172"/>
            <a:ext cx="2242732" cy="307777"/>
          </a:xfrm>
        </p:spPr>
        <p:txBody>
          <a:bodyPr>
            <a:normAutofit/>
          </a:bodyPr>
          <a:lstStyle>
            <a:lvl1pPr marL="0" indent="0">
              <a:buNone/>
              <a:defRPr sz="2000" b="1">
                <a:solidFill>
                  <a:schemeClr val="accent1"/>
                </a:solidFill>
              </a:defRPr>
            </a:lvl1pPr>
          </a:lstStyle>
          <a:p>
            <a:pPr lvl="0"/>
            <a:r>
              <a:rPr lang="en-US" dirty="0"/>
              <a:t>Title</a:t>
            </a:r>
          </a:p>
        </p:txBody>
      </p:sp>
      <p:sp>
        <p:nvSpPr>
          <p:cNvPr id="38" name="Text Placeholder 36">
            <a:extLst>
              <a:ext uri="{FF2B5EF4-FFF2-40B4-BE49-F238E27FC236}">
                <a16:creationId xmlns:a16="http://schemas.microsoft.com/office/drawing/2014/main" id="{90836BC1-EF83-58B0-8AF0-76F8C259ED48}"/>
              </a:ext>
            </a:extLst>
          </p:cNvPr>
          <p:cNvSpPr>
            <a:spLocks noGrp="1"/>
          </p:cNvSpPr>
          <p:nvPr>
            <p:ph type="body" sz="quarter" idx="34" hasCustomPrompt="1"/>
          </p:nvPr>
        </p:nvSpPr>
        <p:spPr>
          <a:xfrm>
            <a:off x="5138638" y="4742172"/>
            <a:ext cx="2242732" cy="307777"/>
          </a:xfrm>
        </p:spPr>
        <p:txBody>
          <a:bodyPr>
            <a:normAutofit/>
          </a:bodyPr>
          <a:lstStyle>
            <a:lvl1pPr marL="0" indent="0">
              <a:buNone/>
              <a:defRPr sz="2000" b="1">
                <a:solidFill>
                  <a:schemeClr val="accent1"/>
                </a:solidFill>
              </a:defRPr>
            </a:lvl1pPr>
          </a:lstStyle>
          <a:p>
            <a:pPr lvl="0"/>
            <a:r>
              <a:rPr lang="en-US" dirty="0"/>
              <a:t>Title</a:t>
            </a:r>
          </a:p>
        </p:txBody>
      </p:sp>
      <p:sp>
        <p:nvSpPr>
          <p:cNvPr id="39" name="Text Placeholder 36">
            <a:extLst>
              <a:ext uri="{FF2B5EF4-FFF2-40B4-BE49-F238E27FC236}">
                <a16:creationId xmlns:a16="http://schemas.microsoft.com/office/drawing/2014/main" id="{C9F26E1B-8232-5C33-7E10-1BF1AC326D7A}"/>
              </a:ext>
            </a:extLst>
          </p:cNvPr>
          <p:cNvSpPr>
            <a:spLocks noGrp="1"/>
          </p:cNvSpPr>
          <p:nvPr>
            <p:ph type="body" sz="quarter" idx="35" hasCustomPrompt="1"/>
          </p:nvPr>
        </p:nvSpPr>
        <p:spPr>
          <a:xfrm>
            <a:off x="9194669" y="4742172"/>
            <a:ext cx="2242732" cy="307777"/>
          </a:xfrm>
        </p:spPr>
        <p:txBody>
          <a:bodyPr>
            <a:normAutofit/>
          </a:bodyPr>
          <a:lstStyle>
            <a:lvl1pPr marL="0" indent="0">
              <a:buNone/>
              <a:defRPr sz="2000" b="1">
                <a:solidFill>
                  <a:schemeClr val="accent1"/>
                </a:solidFill>
              </a:defRPr>
            </a:lvl1pPr>
          </a:lstStyle>
          <a:p>
            <a:pPr lvl="0"/>
            <a:r>
              <a:rPr lang="en-US" dirty="0"/>
              <a:t>Title</a:t>
            </a:r>
          </a:p>
        </p:txBody>
      </p:sp>
      <p:sp>
        <p:nvSpPr>
          <p:cNvPr id="41" name="Text Placeholder 40">
            <a:extLst>
              <a:ext uri="{FF2B5EF4-FFF2-40B4-BE49-F238E27FC236}">
                <a16:creationId xmlns:a16="http://schemas.microsoft.com/office/drawing/2014/main" id="{27699CD9-19BC-75F6-F1B4-A420B5B1AB6A}"/>
              </a:ext>
            </a:extLst>
          </p:cNvPr>
          <p:cNvSpPr>
            <a:spLocks noGrp="1"/>
          </p:cNvSpPr>
          <p:nvPr>
            <p:ph type="body" sz="quarter" idx="36" hasCustomPrompt="1"/>
          </p:nvPr>
        </p:nvSpPr>
        <p:spPr>
          <a:xfrm>
            <a:off x="1074638" y="5166788"/>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42" name="Text Placeholder 40">
            <a:extLst>
              <a:ext uri="{FF2B5EF4-FFF2-40B4-BE49-F238E27FC236}">
                <a16:creationId xmlns:a16="http://schemas.microsoft.com/office/drawing/2014/main" id="{A361D6B3-E515-D6B7-1847-EC9B218F69B8}"/>
              </a:ext>
            </a:extLst>
          </p:cNvPr>
          <p:cNvSpPr>
            <a:spLocks noGrp="1"/>
          </p:cNvSpPr>
          <p:nvPr>
            <p:ph type="body" sz="quarter" idx="37" hasCustomPrompt="1"/>
          </p:nvPr>
        </p:nvSpPr>
        <p:spPr>
          <a:xfrm>
            <a:off x="5149435" y="5166788"/>
            <a:ext cx="2248804" cy="809804"/>
          </a:xfrm>
        </p:spPr>
        <p:txBody>
          <a:bodyPr>
            <a:noAutofit/>
          </a:bodyPr>
          <a:lstStyle>
            <a:lvl1pPr marL="0" indent="0">
              <a:lnSpc>
                <a:spcPct val="120000"/>
              </a:lnSpc>
              <a:buNone/>
              <a:defRPr sz="1400"/>
            </a:lvl1pPr>
          </a:lstStyle>
          <a:p>
            <a:pPr lvl="0"/>
            <a:r>
              <a:rPr lang="en-US" dirty="0"/>
              <a:t>Lorem ipsum dolor sit amet, consectetuer adipiscing elit. Maecenas porttitor congue massa. </a:t>
            </a:r>
            <a:r>
              <a:rPr lang="en-US" dirty="0" err="1"/>
              <a:t>Fusce</a:t>
            </a:r>
            <a:r>
              <a:rPr lang="en-US" dirty="0"/>
              <a:t> </a:t>
            </a:r>
            <a:r>
              <a:rPr lang="en-US" dirty="0" err="1"/>
              <a:t>posuere</a:t>
            </a:r>
            <a:endParaRPr lang="en-US" dirty="0"/>
          </a:p>
        </p:txBody>
      </p:sp>
      <p:sp>
        <p:nvSpPr>
          <p:cNvPr id="43" name="Text Placeholder 40">
            <a:extLst>
              <a:ext uri="{FF2B5EF4-FFF2-40B4-BE49-F238E27FC236}">
                <a16:creationId xmlns:a16="http://schemas.microsoft.com/office/drawing/2014/main" id="{72300828-B8CE-FB85-56C4-72E604FBB6CB}"/>
              </a:ext>
            </a:extLst>
          </p:cNvPr>
          <p:cNvSpPr>
            <a:spLocks noGrp="1"/>
          </p:cNvSpPr>
          <p:nvPr>
            <p:ph type="body" sz="quarter" idx="38" hasCustomPrompt="1"/>
          </p:nvPr>
        </p:nvSpPr>
        <p:spPr>
          <a:xfrm>
            <a:off x="9188597" y="5166788"/>
            <a:ext cx="2248804" cy="809804"/>
          </a:xfrm>
        </p:spPr>
        <p:txBody>
          <a:bodyPr>
            <a:noAutofit/>
          </a:bodyPr>
          <a:lstStyle>
            <a:lvl1pPr marL="0" indent="0">
              <a:lnSpc>
                <a:spcPct val="120000"/>
              </a:lnSpc>
              <a:buNone/>
              <a:defRPr sz="1400"/>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rgbClr val="76717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3158386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XES | 3 Large Pictures - WHITE &amp; GRAY">
    <p:spTree>
      <p:nvGrpSpPr>
        <p:cNvPr id="1" name=""/>
        <p:cNvGrpSpPr/>
        <p:nvPr/>
      </p:nvGrpSpPr>
      <p:grpSpPr>
        <a:xfrm>
          <a:off x="0" y="0"/>
          <a:ext cx="0" cy="0"/>
          <a:chOff x="0" y="0"/>
          <a:chExt cx="0" cy="0"/>
        </a:xfrm>
      </p:grpSpPr>
      <p:sp>
        <p:nvSpPr>
          <p:cNvPr id="7" name="Background Placeholder 6">
            <a:extLst>
              <a:ext uri="{FF2B5EF4-FFF2-40B4-BE49-F238E27FC236}">
                <a16:creationId xmlns:a16="http://schemas.microsoft.com/office/drawing/2014/main" id="{FA3AA9E4-BE99-F871-C373-DD6B9076E81C}"/>
              </a:ext>
            </a:extLst>
          </p:cNvPr>
          <p:cNvSpPr>
            <a:spLocks noGrp="1"/>
          </p:cNvSpPr>
          <p:nvPr>
            <p:ph type="pic" sz="quarter" idx="16" hasCustomPrompt="1"/>
          </p:nvPr>
        </p:nvSpPr>
        <p:spPr>
          <a:xfrm>
            <a:off x="0" y="0"/>
            <a:ext cx="4039200" cy="6858000"/>
          </a:xfrm>
          <a:solidFill>
            <a:schemeClr val="bg1">
              <a:lumMod val="50000"/>
            </a:schemeClr>
          </a:solidFill>
        </p:spPr>
        <p:txBody>
          <a:bodyPr/>
          <a:lstStyle>
            <a:lvl1pPr marL="0" indent="0">
              <a:buNone/>
              <a:defRPr>
                <a:solidFill>
                  <a:schemeClr val="bg1"/>
                </a:solidFill>
              </a:defRPr>
            </a:lvl1pPr>
          </a:lstStyle>
          <a:p>
            <a:r>
              <a:rPr lang="en-US" dirty="0"/>
              <a:t>  </a:t>
            </a:r>
          </a:p>
        </p:txBody>
      </p:sp>
      <p:sp>
        <p:nvSpPr>
          <p:cNvPr id="6" name="Background Placeholder 6">
            <a:extLst>
              <a:ext uri="{FF2B5EF4-FFF2-40B4-BE49-F238E27FC236}">
                <a16:creationId xmlns:a16="http://schemas.microsoft.com/office/drawing/2014/main" id="{5B181085-BB76-E921-D1BA-EE3B12AA0F35}"/>
              </a:ext>
            </a:extLst>
          </p:cNvPr>
          <p:cNvSpPr>
            <a:spLocks noGrp="1"/>
          </p:cNvSpPr>
          <p:nvPr>
            <p:ph type="pic" sz="quarter" idx="22" hasCustomPrompt="1"/>
          </p:nvPr>
        </p:nvSpPr>
        <p:spPr>
          <a:xfrm>
            <a:off x="4039200" y="-11578"/>
            <a:ext cx="4059909" cy="6881156"/>
          </a:xfrm>
          <a:solidFill>
            <a:schemeClr val="bg1">
              <a:lumMod val="75000"/>
            </a:schemeClr>
          </a:solidFill>
        </p:spPr>
        <p:txBody>
          <a:bodyPr/>
          <a:lstStyle>
            <a:lvl1pPr marL="0" indent="0">
              <a:buNone/>
              <a:defRPr>
                <a:solidFill>
                  <a:schemeClr val="bg1"/>
                </a:solidFill>
              </a:defRPr>
            </a:lvl1pPr>
          </a:lstStyle>
          <a:p>
            <a:r>
              <a:rPr lang="en-US" dirty="0"/>
              <a:t>  </a:t>
            </a:r>
          </a:p>
        </p:txBody>
      </p:sp>
      <p:sp>
        <p:nvSpPr>
          <p:cNvPr id="11" name="Background Placeholder 6">
            <a:extLst>
              <a:ext uri="{FF2B5EF4-FFF2-40B4-BE49-F238E27FC236}">
                <a16:creationId xmlns:a16="http://schemas.microsoft.com/office/drawing/2014/main" id="{29D7C9A9-9C7B-0A7B-EBB0-2206E83F2A3D}"/>
              </a:ext>
            </a:extLst>
          </p:cNvPr>
          <p:cNvSpPr>
            <a:spLocks noGrp="1"/>
          </p:cNvSpPr>
          <p:nvPr>
            <p:ph type="pic" sz="quarter" idx="23" hasCustomPrompt="1"/>
          </p:nvPr>
        </p:nvSpPr>
        <p:spPr>
          <a:xfrm>
            <a:off x="8099108" y="0"/>
            <a:ext cx="4092891" cy="6858000"/>
          </a:xfrm>
          <a:solidFill>
            <a:schemeClr val="bg1">
              <a:lumMod val="65000"/>
            </a:schemeClr>
          </a:solid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F05BE99D-09AF-41E9-A560-00A3350C0DD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2" name="Title 1">
            <a:extLst>
              <a:ext uri="{FF2B5EF4-FFF2-40B4-BE49-F238E27FC236}">
                <a16:creationId xmlns:a16="http://schemas.microsoft.com/office/drawing/2014/main" id="{B2B261FC-AE18-E05F-0C8E-9528EDDCCA33}"/>
              </a:ext>
            </a:extLst>
          </p:cNvPr>
          <p:cNvSpPr>
            <a:spLocks noGrp="1"/>
          </p:cNvSpPr>
          <p:nvPr>
            <p:ph type="title" hasCustomPrompt="1"/>
          </p:nvPr>
        </p:nvSpPr>
        <p:spPr>
          <a:xfrm>
            <a:off x="952499" y="750888"/>
            <a:ext cx="4422775" cy="1264921"/>
          </a:xfrm>
        </p:spPr>
        <p:txBody>
          <a:bodyPr anchor="t"/>
          <a:lstStyle>
            <a:lvl1pPr>
              <a:lnSpc>
                <a:spcPct val="80000"/>
              </a:lnSpc>
              <a:defRPr sz="5400">
                <a:solidFill>
                  <a:schemeClr val="bg1"/>
                </a:solidFill>
                <a:latin typeface="+mj-lt"/>
              </a:defRPr>
            </a:lvl1pPr>
          </a:lstStyle>
          <a:p>
            <a:r>
              <a:rPr lang="en-US" dirty="0"/>
              <a:t>very large headline</a:t>
            </a:r>
          </a:p>
        </p:txBody>
      </p:sp>
      <p:sp>
        <p:nvSpPr>
          <p:cNvPr id="18" name="Picture Placeholder 17">
            <a:extLst>
              <a:ext uri="{FF2B5EF4-FFF2-40B4-BE49-F238E27FC236}">
                <a16:creationId xmlns:a16="http://schemas.microsoft.com/office/drawing/2014/main" id="{6F15DC63-EF47-BD63-10C9-7C7DFEF9783A}"/>
              </a:ext>
            </a:extLst>
          </p:cNvPr>
          <p:cNvSpPr>
            <a:spLocks noGrp="1"/>
          </p:cNvSpPr>
          <p:nvPr>
            <p:ph type="pic" sz="quarter" idx="24" hasCustomPrompt="1"/>
          </p:nvPr>
        </p:nvSpPr>
        <p:spPr>
          <a:xfrm>
            <a:off x="-1" y="4042611"/>
            <a:ext cx="4039199" cy="2827559"/>
          </a:xfrm>
          <a:gradFill>
            <a:gsLst>
              <a:gs pos="0">
                <a:schemeClr val="bg2">
                  <a:alpha val="0"/>
                </a:schemeClr>
              </a:gs>
              <a:gs pos="100000">
                <a:schemeClr val="bg2"/>
              </a:gs>
            </a:gsLst>
            <a:lin ang="5400000" scaled="0"/>
          </a:gradFill>
        </p:spPr>
        <p:txBody>
          <a:bodyPr/>
          <a:lstStyle>
            <a:lvl1pPr marL="0" indent="0">
              <a:buNone/>
              <a:defRPr/>
            </a:lvl1pPr>
          </a:lstStyle>
          <a:p>
            <a:r>
              <a:rPr lang="en-US" dirty="0"/>
              <a:t>   </a:t>
            </a:r>
          </a:p>
        </p:txBody>
      </p:sp>
      <p:sp>
        <p:nvSpPr>
          <p:cNvPr id="19" name="Picture Placeholder 17">
            <a:extLst>
              <a:ext uri="{FF2B5EF4-FFF2-40B4-BE49-F238E27FC236}">
                <a16:creationId xmlns:a16="http://schemas.microsoft.com/office/drawing/2014/main" id="{FFCDD7A1-5DE2-37B8-3B3F-0E33ED92FDD4}"/>
              </a:ext>
            </a:extLst>
          </p:cNvPr>
          <p:cNvSpPr>
            <a:spLocks noGrp="1"/>
          </p:cNvSpPr>
          <p:nvPr>
            <p:ph type="pic" sz="quarter" idx="25" hasCustomPrompt="1"/>
          </p:nvPr>
        </p:nvSpPr>
        <p:spPr>
          <a:xfrm>
            <a:off x="4039198" y="4053597"/>
            <a:ext cx="4056821" cy="2827559"/>
          </a:xfrm>
          <a:gradFill>
            <a:gsLst>
              <a:gs pos="0">
                <a:schemeClr val="bg2">
                  <a:alpha val="0"/>
                </a:schemeClr>
              </a:gs>
              <a:gs pos="100000">
                <a:schemeClr val="bg2"/>
              </a:gs>
            </a:gsLst>
            <a:lin ang="5400000" scaled="0"/>
          </a:gradFill>
        </p:spPr>
        <p:txBody>
          <a:bodyPr/>
          <a:lstStyle>
            <a:lvl1pPr marL="0" indent="0">
              <a:buNone/>
              <a:defRPr/>
            </a:lvl1pPr>
          </a:lstStyle>
          <a:p>
            <a:r>
              <a:rPr lang="en-US" dirty="0"/>
              <a:t>   </a:t>
            </a:r>
          </a:p>
        </p:txBody>
      </p:sp>
      <p:sp>
        <p:nvSpPr>
          <p:cNvPr id="20" name="Picture Placeholder 17">
            <a:extLst>
              <a:ext uri="{FF2B5EF4-FFF2-40B4-BE49-F238E27FC236}">
                <a16:creationId xmlns:a16="http://schemas.microsoft.com/office/drawing/2014/main" id="{FAA788CE-E1E0-7A4B-0E4D-444AC6B210DA}"/>
              </a:ext>
            </a:extLst>
          </p:cNvPr>
          <p:cNvSpPr>
            <a:spLocks noGrp="1"/>
          </p:cNvSpPr>
          <p:nvPr>
            <p:ph type="pic" sz="quarter" idx="26" hasCustomPrompt="1"/>
          </p:nvPr>
        </p:nvSpPr>
        <p:spPr>
          <a:xfrm>
            <a:off x="8099107" y="4042611"/>
            <a:ext cx="4092893" cy="2827559"/>
          </a:xfrm>
          <a:gradFill>
            <a:gsLst>
              <a:gs pos="0">
                <a:schemeClr val="bg2">
                  <a:alpha val="0"/>
                </a:schemeClr>
              </a:gs>
              <a:gs pos="100000">
                <a:schemeClr val="bg2"/>
              </a:gs>
            </a:gsLst>
            <a:lin ang="5400000" scaled="0"/>
          </a:gradFill>
        </p:spPr>
        <p:txBody>
          <a:bodyPr/>
          <a:lstStyle>
            <a:lvl1pPr marL="0" indent="0">
              <a:buNone/>
              <a:defRPr/>
            </a:lvl1pPr>
          </a:lstStyle>
          <a:p>
            <a:r>
              <a:rPr lang="en-US" dirty="0"/>
              <a:t>   </a:t>
            </a:r>
          </a:p>
        </p:txBody>
      </p:sp>
      <p:sp>
        <p:nvSpPr>
          <p:cNvPr id="27" name="Picture Placeholder 26">
            <a:extLst>
              <a:ext uri="{FF2B5EF4-FFF2-40B4-BE49-F238E27FC236}">
                <a16:creationId xmlns:a16="http://schemas.microsoft.com/office/drawing/2014/main" id="{D6F80EE4-FF92-9529-CCE7-BEF8E94CFB4F}"/>
              </a:ext>
            </a:extLst>
          </p:cNvPr>
          <p:cNvSpPr>
            <a:spLocks noGrp="1"/>
          </p:cNvSpPr>
          <p:nvPr>
            <p:ph type="pic" sz="quarter" idx="27" hasCustomPrompt="1"/>
          </p:nvPr>
        </p:nvSpPr>
        <p:spPr>
          <a:xfrm>
            <a:off x="594211" y="4716765"/>
            <a:ext cx="358590" cy="35859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28" name="Picture Placeholder 26">
            <a:extLst>
              <a:ext uri="{FF2B5EF4-FFF2-40B4-BE49-F238E27FC236}">
                <a16:creationId xmlns:a16="http://schemas.microsoft.com/office/drawing/2014/main" id="{A9172F54-BE81-0E0E-DE3D-E39F2EB1A0E5}"/>
              </a:ext>
            </a:extLst>
          </p:cNvPr>
          <p:cNvSpPr>
            <a:spLocks noGrp="1"/>
          </p:cNvSpPr>
          <p:nvPr>
            <p:ph type="pic" sz="quarter" idx="28" hasCustomPrompt="1"/>
          </p:nvPr>
        </p:nvSpPr>
        <p:spPr>
          <a:xfrm>
            <a:off x="4666180" y="4716765"/>
            <a:ext cx="358590" cy="35859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30" name="Picture Placeholder 26">
            <a:extLst>
              <a:ext uri="{FF2B5EF4-FFF2-40B4-BE49-F238E27FC236}">
                <a16:creationId xmlns:a16="http://schemas.microsoft.com/office/drawing/2014/main" id="{67D726D0-ED6B-DC57-CB8E-1D4F5AD702DD}"/>
              </a:ext>
            </a:extLst>
          </p:cNvPr>
          <p:cNvSpPr>
            <a:spLocks noGrp="1"/>
          </p:cNvSpPr>
          <p:nvPr>
            <p:ph type="pic" sz="quarter" idx="29" hasCustomPrompt="1"/>
          </p:nvPr>
        </p:nvSpPr>
        <p:spPr>
          <a:xfrm>
            <a:off x="8746115" y="4716765"/>
            <a:ext cx="358590" cy="358590"/>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lvl1pPr>
          </a:lstStyle>
          <a:p>
            <a:r>
              <a:rPr lang="en-US" dirty="0"/>
              <a:t>   </a:t>
            </a:r>
          </a:p>
        </p:txBody>
      </p:sp>
      <p:sp>
        <p:nvSpPr>
          <p:cNvPr id="33" name="Picture Placeholder 32">
            <a:extLst>
              <a:ext uri="{FF2B5EF4-FFF2-40B4-BE49-F238E27FC236}">
                <a16:creationId xmlns:a16="http://schemas.microsoft.com/office/drawing/2014/main" id="{2188EC0A-5142-174D-DFE9-BD68E4D7A2CC}"/>
              </a:ext>
            </a:extLst>
          </p:cNvPr>
          <p:cNvSpPr>
            <a:spLocks noGrp="1"/>
          </p:cNvSpPr>
          <p:nvPr>
            <p:ph type="pic" sz="quarter" idx="30" hasCustomPrompt="1"/>
          </p:nvPr>
        </p:nvSpPr>
        <p:spPr>
          <a:xfrm>
            <a:off x="1080710" y="6185310"/>
            <a:ext cx="2242732" cy="60959"/>
          </a:xfrm>
          <a:solidFill>
            <a:schemeClr val="bg1"/>
          </a:solidFill>
        </p:spPr>
        <p:txBody>
          <a:bodyPr/>
          <a:lstStyle>
            <a:lvl1pPr marL="0" indent="0">
              <a:buNone/>
              <a:defRPr/>
            </a:lvl1pPr>
          </a:lstStyle>
          <a:p>
            <a:r>
              <a:rPr lang="en-US" dirty="0"/>
              <a:t>     </a:t>
            </a:r>
          </a:p>
        </p:txBody>
      </p:sp>
      <p:sp>
        <p:nvSpPr>
          <p:cNvPr id="34" name="Picture Placeholder 32">
            <a:extLst>
              <a:ext uri="{FF2B5EF4-FFF2-40B4-BE49-F238E27FC236}">
                <a16:creationId xmlns:a16="http://schemas.microsoft.com/office/drawing/2014/main" id="{3A57E4A5-F928-31F2-F793-9AEEE7D3D4FF}"/>
              </a:ext>
            </a:extLst>
          </p:cNvPr>
          <p:cNvSpPr>
            <a:spLocks noGrp="1"/>
          </p:cNvSpPr>
          <p:nvPr>
            <p:ph type="pic" sz="quarter" idx="31" hasCustomPrompt="1"/>
          </p:nvPr>
        </p:nvSpPr>
        <p:spPr>
          <a:xfrm>
            <a:off x="9196895" y="6185310"/>
            <a:ext cx="2242732" cy="60959"/>
          </a:xfrm>
          <a:solidFill>
            <a:schemeClr val="bg1"/>
          </a:solidFill>
        </p:spPr>
        <p:txBody>
          <a:bodyPr/>
          <a:lstStyle>
            <a:lvl1pPr marL="0" indent="0">
              <a:buNone/>
              <a:defRPr/>
            </a:lvl1pPr>
          </a:lstStyle>
          <a:p>
            <a:r>
              <a:rPr lang="en-US" dirty="0"/>
              <a:t>     </a:t>
            </a:r>
          </a:p>
        </p:txBody>
      </p:sp>
      <p:sp>
        <p:nvSpPr>
          <p:cNvPr id="35" name="Picture Placeholder 32">
            <a:extLst>
              <a:ext uri="{FF2B5EF4-FFF2-40B4-BE49-F238E27FC236}">
                <a16:creationId xmlns:a16="http://schemas.microsoft.com/office/drawing/2014/main" id="{946A88F6-5B74-3B29-1340-3EF947C2B64E}"/>
              </a:ext>
            </a:extLst>
          </p:cNvPr>
          <p:cNvSpPr>
            <a:spLocks noGrp="1"/>
          </p:cNvSpPr>
          <p:nvPr>
            <p:ph type="pic" sz="quarter" idx="32" hasCustomPrompt="1"/>
          </p:nvPr>
        </p:nvSpPr>
        <p:spPr>
          <a:xfrm>
            <a:off x="5149435" y="6185310"/>
            <a:ext cx="2242732" cy="60959"/>
          </a:xfrm>
          <a:solidFill>
            <a:schemeClr val="bg1"/>
          </a:solidFill>
        </p:spPr>
        <p:txBody>
          <a:bodyPr/>
          <a:lstStyle>
            <a:lvl1pPr marL="0" indent="0">
              <a:buNone/>
              <a:defRPr/>
            </a:lvl1pPr>
          </a:lstStyle>
          <a:p>
            <a:r>
              <a:rPr lang="en-US" dirty="0"/>
              <a:t>     </a:t>
            </a:r>
          </a:p>
        </p:txBody>
      </p:sp>
      <p:sp>
        <p:nvSpPr>
          <p:cNvPr id="37" name="Text Placeholder 36">
            <a:extLst>
              <a:ext uri="{FF2B5EF4-FFF2-40B4-BE49-F238E27FC236}">
                <a16:creationId xmlns:a16="http://schemas.microsoft.com/office/drawing/2014/main" id="{A3767BCD-543D-2FEA-AB5F-36BE30173E61}"/>
              </a:ext>
            </a:extLst>
          </p:cNvPr>
          <p:cNvSpPr>
            <a:spLocks noGrp="1"/>
          </p:cNvSpPr>
          <p:nvPr>
            <p:ph type="body" sz="quarter" idx="33" hasCustomPrompt="1"/>
          </p:nvPr>
        </p:nvSpPr>
        <p:spPr>
          <a:xfrm>
            <a:off x="1074638" y="4742172"/>
            <a:ext cx="2242732" cy="307777"/>
          </a:xfrm>
        </p:spPr>
        <p:txBody>
          <a:bodyPr>
            <a:normAutofit/>
          </a:bodyPr>
          <a:lstStyle>
            <a:lvl1pPr marL="0" indent="0">
              <a:buNone/>
              <a:defRPr sz="2000" b="1">
                <a:solidFill>
                  <a:schemeClr val="bg1"/>
                </a:solidFill>
              </a:defRPr>
            </a:lvl1pPr>
          </a:lstStyle>
          <a:p>
            <a:pPr lvl="0"/>
            <a:r>
              <a:rPr lang="en-US" dirty="0"/>
              <a:t>Title</a:t>
            </a:r>
          </a:p>
        </p:txBody>
      </p:sp>
      <p:sp>
        <p:nvSpPr>
          <p:cNvPr id="38" name="Text Placeholder 36">
            <a:extLst>
              <a:ext uri="{FF2B5EF4-FFF2-40B4-BE49-F238E27FC236}">
                <a16:creationId xmlns:a16="http://schemas.microsoft.com/office/drawing/2014/main" id="{90836BC1-EF83-58B0-8AF0-76F8C259ED48}"/>
              </a:ext>
            </a:extLst>
          </p:cNvPr>
          <p:cNvSpPr>
            <a:spLocks noGrp="1"/>
          </p:cNvSpPr>
          <p:nvPr>
            <p:ph type="body" sz="quarter" idx="34" hasCustomPrompt="1"/>
          </p:nvPr>
        </p:nvSpPr>
        <p:spPr>
          <a:xfrm>
            <a:off x="5138638" y="4742172"/>
            <a:ext cx="2242732" cy="307777"/>
          </a:xfrm>
        </p:spPr>
        <p:txBody>
          <a:bodyPr>
            <a:normAutofit/>
          </a:bodyPr>
          <a:lstStyle>
            <a:lvl1pPr marL="0" indent="0">
              <a:buNone/>
              <a:defRPr sz="2000" b="1">
                <a:solidFill>
                  <a:schemeClr val="bg1"/>
                </a:solidFill>
              </a:defRPr>
            </a:lvl1pPr>
          </a:lstStyle>
          <a:p>
            <a:pPr lvl="0"/>
            <a:r>
              <a:rPr lang="en-US" dirty="0"/>
              <a:t>Title</a:t>
            </a:r>
          </a:p>
        </p:txBody>
      </p:sp>
      <p:sp>
        <p:nvSpPr>
          <p:cNvPr id="39" name="Text Placeholder 36">
            <a:extLst>
              <a:ext uri="{FF2B5EF4-FFF2-40B4-BE49-F238E27FC236}">
                <a16:creationId xmlns:a16="http://schemas.microsoft.com/office/drawing/2014/main" id="{C9F26E1B-8232-5C33-7E10-1BF1AC326D7A}"/>
              </a:ext>
            </a:extLst>
          </p:cNvPr>
          <p:cNvSpPr>
            <a:spLocks noGrp="1"/>
          </p:cNvSpPr>
          <p:nvPr>
            <p:ph type="body" sz="quarter" idx="35" hasCustomPrompt="1"/>
          </p:nvPr>
        </p:nvSpPr>
        <p:spPr>
          <a:xfrm>
            <a:off x="9194669" y="4742172"/>
            <a:ext cx="2242732" cy="307777"/>
          </a:xfrm>
        </p:spPr>
        <p:txBody>
          <a:bodyPr>
            <a:normAutofit/>
          </a:bodyPr>
          <a:lstStyle>
            <a:lvl1pPr marL="0" indent="0">
              <a:buNone/>
              <a:defRPr sz="2000" b="1">
                <a:solidFill>
                  <a:schemeClr val="bg1"/>
                </a:solidFill>
              </a:defRPr>
            </a:lvl1pPr>
          </a:lstStyle>
          <a:p>
            <a:pPr lvl="0"/>
            <a:r>
              <a:rPr lang="en-US" dirty="0"/>
              <a:t>Title</a:t>
            </a:r>
          </a:p>
        </p:txBody>
      </p:sp>
      <p:sp>
        <p:nvSpPr>
          <p:cNvPr id="41" name="Text Placeholder 40">
            <a:extLst>
              <a:ext uri="{FF2B5EF4-FFF2-40B4-BE49-F238E27FC236}">
                <a16:creationId xmlns:a16="http://schemas.microsoft.com/office/drawing/2014/main" id="{27699CD9-19BC-75F6-F1B4-A420B5B1AB6A}"/>
              </a:ext>
            </a:extLst>
          </p:cNvPr>
          <p:cNvSpPr>
            <a:spLocks noGrp="1"/>
          </p:cNvSpPr>
          <p:nvPr>
            <p:ph type="body" sz="quarter" idx="36" hasCustomPrompt="1"/>
          </p:nvPr>
        </p:nvSpPr>
        <p:spPr>
          <a:xfrm>
            <a:off x="1074638" y="5166788"/>
            <a:ext cx="2248804" cy="809804"/>
          </a:xfrm>
        </p:spPr>
        <p:txBody>
          <a:bodyPr>
            <a:noAutofit/>
          </a:bodyPr>
          <a:lstStyle>
            <a:lvl1pPr marL="0" indent="0">
              <a:lnSpc>
                <a:spcPct val="120000"/>
              </a:lnSpc>
              <a:buNone/>
              <a:defRPr sz="1400">
                <a:solidFill>
                  <a:schemeClr val="bg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42" name="Text Placeholder 40">
            <a:extLst>
              <a:ext uri="{FF2B5EF4-FFF2-40B4-BE49-F238E27FC236}">
                <a16:creationId xmlns:a16="http://schemas.microsoft.com/office/drawing/2014/main" id="{A361D6B3-E515-D6B7-1847-EC9B218F69B8}"/>
              </a:ext>
            </a:extLst>
          </p:cNvPr>
          <p:cNvSpPr>
            <a:spLocks noGrp="1"/>
          </p:cNvSpPr>
          <p:nvPr>
            <p:ph type="body" sz="quarter" idx="37" hasCustomPrompt="1"/>
          </p:nvPr>
        </p:nvSpPr>
        <p:spPr>
          <a:xfrm>
            <a:off x="5149435" y="5166788"/>
            <a:ext cx="2248804" cy="809804"/>
          </a:xfrm>
        </p:spPr>
        <p:txBody>
          <a:bodyPr>
            <a:noAutofit/>
          </a:bodyPr>
          <a:lstStyle>
            <a:lvl1pPr marL="0" indent="0">
              <a:lnSpc>
                <a:spcPct val="120000"/>
              </a:lnSpc>
              <a:buNone/>
              <a:defRPr sz="1400">
                <a:solidFill>
                  <a:schemeClr val="bg1"/>
                </a:solidFill>
              </a:defRPr>
            </a:lvl1pPr>
          </a:lstStyle>
          <a:p>
            <a:pPr lvl="0"/>
            <a:r>
              <a:rPr lang="en-US" dirty="0"/>
              <a:t>Lorem ipsum dolor sit amet, consectetuer adipiscing elit. Maecenas porttitor congue massa. </a:t>
            </a:r>
            <a:r>
              <a:rPr lang="en-US" dirty="0" err="1"/>
              <a:t>Fusce</a:t>
            </a:r>
            <a:r>
              <a:rPr lang="en-US" dirty="0"/>
              <a:t> </a:t>
            </a:r>
            <a:r>
              <a:rPr lang="en-US" dirty="0" err="1"/>
              <a:t>posuere</a:t>
            </a:r>
            <a:endParaRPr lang="en-US" dirty="0"/>
          </a:p>
        </p:txBody>
      </p:sp>
      <p:sp>
        <p:nvSpPr>
          <p:cNvPr id="43" name="Text Placeholder 40">
            <a:extLst>
              <a:ext uri="{FF2B5EF4-FFF2-40B4-BE49-F238E27FC236}">
                <a16:creationId xmlns:a16="http://schemas.microsoft.com/office/drawing/2014/main" id="{72300828-B8CE-FB85-56C4-72E604FBB6CB}"/>
              </a:ext>
            </a:extLst>
          </p:cNvPr>
          <p:cNvSpPr>
            <a:spLocks noGrp="1"/>
          </p:cNvSpPr>
          <p:nvPr>
            <p:ph type="body" sz="quarter" idx="38" hasCustomPrompt="1"/>
          </p:nvPr>
        </p:nvSpPr>
        <p:spPr>
          <a:xfrm>
            <a:off x="9188597" y="5166788"/>
            <a:ext cx="2248804" cy="809804"/>
          </a:xfrm>
        </p:spPr>
        <p:txBody>
          <a:bodyPr>
            <a:noAutofit/>
          </a:bodyPr>
          <a:lstStyle>
            <a:lvl1pPr marL="0" indent="0">
              <a:lnSpc>
                <a:spcPct val="120000"/>
              </a:lnSpc>
              <a:buNone/>
              <a:defRPr sz="1400">
                <a:solidFill>
                  <a:schemeClr val="bg1"/>
                </a:solidFill>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endParaRPr lang="en-US" dirty="0"/>
          </a:p>
        </p:txBody>
      </p:sp>
      <p:sp>
        <p:nvSpPr>
          <p:cNvPr id="4" name="Picture Placeholder 30">
            <a:extLst>
              <a:ext uri="{FF2B5EF4-FFF2-40B4-BE49-F238E27FC236}">
                <a16:creationId xmlns:a16="http://schemas.microsoft.com/office/drawing/2014/main" id="{B7600D01-C1B5-D47A-4062-BBD98778EAE6}"/>
              </a:ext>
            </a:extLst>
          </p:cNvPr>
          <p:cNvSpPr>
            <a:spLocks noGrp="1"/>
          </p:cNvSpPr>
          <p:nvPr>
            <p:ph type="pic" sz="quarter" idx="18" hasCustomPrompt="1"/>
          </p:nvPr>
        </p:nvSpPr>
        <p:spPr>
          <a:xfrm>
            <a:off x="11827011" y="223406"/>
            <a:ext cx="179699" cy="179673"/>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5" name="Picture Placeholder 28">
            <a:extLst>
              <a:ext uri="{FF2B5EF4-FFF2-40B4-BE49-F238E27FC236}">
                <a16:creationId xmlns:a16="http://schemas.microsoft.com/office/drawing/2014/main" id="{56614EB1-2C27-ADD0-6437-A70CA7C43E93}"/>
              </a:ext>
            </a:extLst>
          </p:cNvPr>
          <p:cNvSpPr>
            <a:spLocks noGrp="1"/>
          </p:cNvSpPr>
          <p:nvPr>
            <p:ph type="pic" sz="quarter" idx="17" hasCustomPrompt="1"/>
          </p:nvPr>
        </p:nvSpPr>
        <p:spPr>
          <a:xfrm>
            <a:off x="196779" y="200856"/>
            <a:ext cx="714095" cy="283877"/>
          </a:xfrm>
          <a:blipFill>
            <a:blip r:embed="rId8"/>
            <a:stretch>
              <a:fillRect/>
            </a:stretch>
          </a:blipFill>
        </p:spPr>
        <p:txBody>
          <a:bodyPr/>
          <a:lstStyle>
            <a:lvl1pPr marL="0" indent="0">
              <a:buNone/>
              <a:defRPr>
                <a:solidFill>
                  <a:schemeClr val="bg1"/>
                </a:solidFill>
              </a:defRPr>
            </a:lvl1pPr>
          </a:lstStyle>
          <a:p>
            <a:r>
              <a:rPr lang="en-US" dirty="0"/>
              <a:t>  </a:t>
            </a:r>
          </a:p>
        </p:txBody>
      </p:sp>
      <p:sp>
        <p:nvSpPr>
          <p:cNvPr id="9" name="Rectangle 8">
            <a:extLst>
              <a:ext uri="{FF2B5EF4-FFF2-40B4-BE49-F238E27FC236}">
                <a16:creationId xmlns:a16="http://schemas.microsoft.com/office/drawing/2014/main" id="{8C97012C-63F3-48BB-144F-BAB055CA15CF}"/>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chemeClr val="bg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7629310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SCLAIMER | Public Information">
    <p:spTree>
      <p:nvGrpSpPr>
        <p:cNvPr id="1" name=""/>
        <p:cNvGrpSpPr/>
        <p:nvPr/>
      </p:nvGrpSpPr>
      <p:grpSpPr>
        <a:xfrm>
          <a:off x="0" y="0"/>
          <a:ext cx="0" cy="0"/>
          <a:chOff x="0" y="0"/>
          <a:chExt cx="0" cy="0"/>
        </a:xfrm>
      </p:grpSpPr>
      <p:sp>
        <p:nvSpPr>
          <p:cNvPr id="2" name="Forma Livre: Forma 61">
            <a:extLst>
              <a:ext uri="{FF2B5EF4-FFF2-40B4-BE49-F238E27FC236}">
                <a16:creationId xmlns:a16="http://schemas.microsoft.com/office/drawing/2014/main" id="{B05D43A0-C589-18C9-821C-60267F476DF6}"/>
              </a:ext>
            </a:extLst>
          </p:cNvPr>
          <p:cNvSpPr/>
          <p:nvPr userDrawn="1"/>
        </p:nvSpPr>
        <p:spPr>
          <a:xfrm flipH="1">
            <a:off x="11827565" y="234253"/>
            <a:ext cx="160907" cy="160883"/>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149E9"/>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sz="675" dirty="0">
              <a:latin typeface="+mn-lt"/>
            </a:endParaRPr>
          </a:p>
        </p:txBody>
      </p:sp>
      <p:grpSp>
        <p:nvGrpSpPr>
          <p:cNvPr id="3" name="Agrupar 1">
            <a:extLst>
              <a:ext uri="{FF2B5EF4-FFF2-40B4-BE49-F238E27FC236}">
                <a16:creationId xmlns:a16="http://schemas.microsoft.com/office/drawing/2014/main" id="{684383C6-45A9-425A-8240-AB5283A83482}"/>
              </a:ext>
            </a:extLst>
          </p:cNvPr>
          <p:cNvGrpSpPr/>
          <p:nvPr userDrawn="1"/>
        </p:nvGrpSpPr>
        <p:grpSpPr>
          <a:xfrm>
            <a:off x="4745298" y="2838409"/>
            <a:ext cx="4514955" cy="1181182"/>
            <a:chOff x="3553854" y="2096059"/>
            <a:chExt cx="4591770" cy="1181182"/>
          </a:xfrm>
        </p:grpSpPr>
        <p:sp>
          <p:nvSpPr>
            <p:cNvPr id="4" name="maps graphic">
              <a:extLst>
                <a:ext uri="{FF2B5EF4-FFF2-40B4-BE49-F238E27FC236}">
                  <a16:creationId xmlns:a16="http://schemas.microsoft.com/office/drawing/2014/main" id="{703E9B22-4721-35D2-8019-A04218F325D1}"/>
                </a:ext>
              </a:extLst>
            </p:cNvPr>
            <p:cNvSpPr txBox="1"/>
            <p:nvPr/>
          </p:nvSpPr>
          <p:spPr>
            <a:xfrm>
              <a:off x="3553854" y="2096059"/>
              <a:ext cx="4157185" cy="298864"/>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p>
              <a:pPr>
                <a:defRPr sz="5000" b="1" cap="all">
                  <a:latin typeface="Arial Narrow"/>
                  <a:ea typeface="Arial Narrow"/>
                  <a:cs typeface="Arial Narrow"/>
                  <a:sym typeface="Arial Narrow"/>
                </a:defRPr>
              </a:pPr>
              <a:r>
                <a:rPr lang="pt-PT" sz="1880" b="1" cap="all" dirty="0">
                  <a:sym typeface="Arial Narrow"/>
                </a:rPr>
                <a:t>Disclaimer</a:t>
              </a:r>
              <a:endParaRPr lang="pt-PT" sz="1880" dirty="0">
                <a:solidFill>
                  <a:srgbClr val="001638"/>
                </a:solidFill>
              </a:endParaRPr>
            </a:p>
          </p:txBody>
        </p:sp>
        <p:sp>
          <p:nvSpPr>
            <p:cNvPr id="5"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2343BE9D-E439-C7B7-9BDB-40E805431051}"/>
                </a:ext>
              </a:extLst>
            </p:cNvPr>
            <p:cNvSpPr txBox="1"/>
            <p:nvPr/>
          </p:nvSpPr>
          <p:spPr>
            <a:xfrm>
              <a:off x="3553855" y="2517097"/>
              <a:ext cx="4591769" cy="760144"/>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nSpc>
                  <a:spcPct val="120000"/>
                </a:lnSpc>
                <a:defRPr sz="2500">
                  <a:solidFill>
                    <a:srgbClr val="808080"/>
                  </a:solidFill>
                  <a:latin typeface="Arial"/>
                  <a:ea typeface="Arial"/>
                  <a:cs typeface="Arial"/>
                  <a:sym typeface="Arial"/>
                </a:defRPr>
              </a:lvl1pPr>
            </a:lstStyle>
            <a:p>
              <a:r>
                <a:rPr lang="pt-BR" sz="1000" b="1" dirty="0">
                  <a:solidFill>
                    <a:srgbClr val="639143"/>
                  </a:solidFill>
                </a:rPr>
                <a:t>PUBLIC INFORMATION:</a:t>
              </a:r>
              <a:r>
                <a:rPr lang="pt-BR" sz="1000" b="1" dirty="0">
                  <a:solidFill>
                    <a:srgbClr val="136CB2"/>
                  </a:solidFill>
                </a:rPr>
                <a:t> </a:t>
              </a:r>
              <a:r>
                <a:rPr lang="en-US" sz="1000" dirty="0"/>
                <a:t>The information contained in this presentation can be disclosed to the public, internal and external. The official broadcasting can only be done by the Corporate Communication area or released with authorization from the department’s manager who owns the information.</a:t>
              </a:r>
              <a:endParaRPr lang="pt-BR" sz="1000" dirty="0"/>
            </a:p>
          </p:txBody>
        </p:sp>
      </p:grpSp>
      <p:sp>
        <p:nvSpPr>
          <p:cNvPr id="6" name="Linha">
            <a:extLst>
              <a:ext uri="{FF2B5EF4-FFF2-40B4-BE49-F238E27FC236}">
                <a16:creationId xmlns:a16="http://schemas.microsoft.com/office/drawing/2014/main" id="{7C15AE7C-342D-6913-EFF2-11F30302BE05}"/>
              </a:ext>
            </a:extLst>
          </p:cNvPr>
          <p:cNvSpPr/>
          <p:nvPr userDrawn="1"/>
        </p:nvSpPr>
        <p:spPr>
          <a:xfrm flipV="1">
            <a:off x="3996559" y="2582398"/>
            <a:ext cx="585866" cy="1693204"/>
          </a:xfrm>
          <a:prstGeom prst="line">
            <a:avLst/>
          </a:prstGeom>
          <a:ln w="12700">
            <a:solidFill>
              <a:srgbClr val="CCD5D9"/>
            </a:solidFill>
            <a:miter lim="400000"/>
          </a:ln>
        </p:spPr>
        <p:txBody>
          <a:bodyPr lIns="19050" tIns="19050" rIns="19050" bIns="19050" anchor="ctr"/>
          <a:lstStyle/>
          <a:p>
            <a:endParaRPr sz="675"/>
          </a:p>
        </p:txBody>
      </p:sp>
      <p:pic>
        <p:nvPicPr>
          <p:cNvPr id="7" name="Picture 6">
            <a:extLst>
              <a:ext uri="{FF2B5EF4-FFF2-40B4-BE49-F238E27FC236}">
                <a16:creationId xmlns:a16="http://schemas.microsoft.com/office/drawing/2014/main" id="{33047E8C-9145-75E3-FE20-A610EA2D5C37}"/>
              </a:ext>
            </a:extLst>
          </p:cNvPr>
          <p:cNvPicPr>
            <a:picLocks noChangeAspect="1"/>
          </p:cNvPicPr>
          <p:nvPr userDrawn="1"/>
        </p:nvPicPr>
        <p:blipFill>
          <a:blip r:embed="rId3"/>
          <a:stretch>
            <a:fillRect/>
          </a:stretch>
        </p:blipFill>
        <p:spPr>
          <a:xfrm>
            <a:off x="2815622" y="2854719"/>
            <a:ext cx="1143000" cy="1143000"/>
          </a:xfrm>
          <a:prstGeom prst="rect">
            <a:avLst/>
          </a:prstGeom>
        </p:spPr>
      </p:pic>
      <p:sp>
        <p:nvSpPr>
          <p:cNvPr id="10" name="Rectangle 9" hidden="1">
            <a:extLst>
              <a:ext uri="{FF2B5EF4-FFF2-40B4-BE49-F238E27FC236}">
                <a16:creationId xmlns:a16="http://schemas.microsoft.com/office/drawing/2014/main" id="{BFF800E1-D6DB-AD47-3477-1DF7F4733ADF}"/>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Date Placeholder 7">
            <a:extLst>
              <a:ext uri="{FF2B5EF4-FFF2-40B4-BE49-F238E27FC236}">
                <a16:creationId xmlns:a16="http://schemas.microsoft.com/office/drawing/2014/main" id="{DC9E9A1D-E8AD-F96D-F495-A4B3017719FC}"/>
              </a:ext>
            </a:extLst>
          </p:cNvPr>
          <p:cNvSpPr>
            <a:spLocks noGrp="1"/>
          </p:cNvSpPr>
          <p:nvPr>
            <p:ph type="dt" sz="half" idx="10"/>
          </p:nvPr>
        </p:nvSpPr>
        <p:spPr/>
        <p:txBody>
          <a:bodyPr/>
          <a:lstStyle/>
          <a:p>
            <a:fld id="{A828422E-6621-480A-B519-D3E645E39D35}" type="datetime1">
              <a:rPr lang="en-US"/>
              <a:t>11/16/2024</a:t>
            </a:fld>
            <a:endParaRPr lang="en-US" dirty="0"/>
          </a:p>
        </p:txBody>
      </p:sp>
      <p:sp>
        <p:nvSpPr>
          <p:cNvPr id="9" name="Footer Placeholder 8">
            <a:extLst>
              <a:ext uri="{FF2B5EF4-FFF2-40B4-BE49-F238E27FC236}">
                <a16:creationId xmlns:a16="http://schemas.microsoft.com/office/drawing/2014/main" id="{25478172-6343-3488-B6B4-82040DE1D907}"/>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DC04BC08-99C8-24A4-E655-7A3336DCD0A3}"/>
              </a:ext>
            </a:extLst>
          </p:cNvPr>
          <p:cNvSpPr>
            <a:spLocks noGrp="1"/>
          </p:cNvSpPr>
          <p:nvPr>
            <p:ph type="sldNum" sz="quarter" idx="12"/>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5152894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 No Conten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lgn="l">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07380F94-59A9-4865-9110-D79355A369DE}"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Logo Placeholder 30">
            <a:extLst>
              <a:ext uri="{FF2B5EF4-FFF2-40B4-BE49-F238E27FC236}">
                <a16:creationId xmlns:a16="http://schemas.microsoft.com/office/drawing/2014/main" id="{98479839-30E8-01FD-40BB-F1B63BA9C866}"/>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Business Unit Placeholder 28">
            <a:extLst>
              <a:ext uri="{FF2B5EF4-FFF2-40B4-BE49-F238E27FC236}">
                <a16:creationId xmlns:a16="http://schemas.microsoft.com/office/drawing/2014/main" id="{7F41A5E4-6404-A30A-48F5-C425236A19EF}"/>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7639847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SCLAIMER | Private Information">
    <p:spTree>
      <p:nvGrpSpPr>
        <p:cNvPr id="1" name=""/>
        <p:cNvGrpSpPr/>
        <p:nvPr/>
      </p:nvGrpSpPr>
      <p:grpSpPr>
        <a:xfrm>
          <a:off x="0" y="0"/>
          <a:ext cx="0" cy="0"/>
          <a:chOff x="0" y="0"/>
          <a:chExt cx="0" cy="0"/>
        </a:xfrm>
      </p:grpSpPr>
      <p:sp>
        <p:nvSpPr>
          <p:cNvPr id="2" name="Forma Livre: Forma 61">
            <a:extLst>
              <a:ext uri="{FF2B5EF4-FFF2-40B4-BE49-F238E27FC236}">
                <a16:creationId xmlns:a16="http://schemas.microsoft.com/office/drawing/2014/main" id="{B05D43A0-C589-18C9-821C-60267F476DF6}"/>
              </a:ext>
            </a:extLst>
          </p:cNvPr>
          <p:cNvSpPr/>
          <p:nvPr userDrawn="1"/>
        </p:nvSpPr>
        <p:spPr>
          <a:xfrm flipH="1">
            <a:off x="11827565" y="234253"/>
            <a:ext cx="160907" cy="160883"/>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149E9"/>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sz="675" dirty="0">
              <a:latin typeface="+mn-lt"/>
            </a:endParaRPr>
          </a:p>
        </p:txBody>
      </p:sp>
      <p:sp>
        <p:nvSpPr>
          <p:cNvPr id="3" name="Linha">
            <a:extLst>
              <a:ext uri="{FF2B5EF4-FFF2-40B4-BE49-F238E27FC236}">
                <a16:creationId xmlns:a16="http://schemas.microsoft.com/office/drawing/2014/main" id="{03620B48-97AB-7422-2DD5-43BC617CAC01}"/>
              </a:ext>
            </a:extLst>
          </p:cNvPr>
          <p:cNvSpPr/>
          <p:nvPr userDrawn="1"/>
        </p:nvSpPr>
        <p:spPr>
          <a:xfrm flipV="1">
            <a:off x="3996558" y="2582398"/>
            <a:ext cx="585866" cy="1693204"/>
          </a:xfrm>
          <a:prstGeom prst="line">
            <a:avLst/>
          </a:prstGeom>
          <a:ln w="12700">
            <a:solidFill>
              <a:srgbClr val="CCD5D9"/>
            </a:solidFill>
            <a:miter lim="400000"/>
          </a:ln>
        </p:spPr>
        <p:txBody>
          <a:bodyPr lIns="19050" tIns="19050" rIns="19050" bIns="19050" anchor="ctr"/>
          <a:lstStyle/>
          <a:p>
            <a:endParaRPr sz="675"/>
          </a:p>
        </p:txBody>
      </p:sp>
      <p:grpSp>
        <p:nvGrpSpPr>
          <p:cNvPr id="4" name="Agrupar 1">
            <a:extLst>
              <a:ext uri="{FF2B5EF4-FFF2-40B4-BE49-F238E27FC236}">
                <a16:creationId xmlns:a16="http://schemas.microsoft.com/office/drawing/2014/main" id="{6327967A-3BA3-EE72-1158-AC80829F2E21}"/>
              </a:ext>
            </a:extLst>
          </p:cNvPr>
          <p:cNvGrpSpPr/>
          <p:nvPr userDrawn="1"/>
        </p:nvGrpSpPr>
        <p:grpSpPr>
          <a:xfrm>
            <a:off x="4762338" y="2746076"/>
            <a:ext cx="4946486" cy="1365848"/>
            <a:chOff x="3376567" y="1909441"/>
            <a:chExt cx="4946486" cy="1365848"/>
          </a:xfrm>
        </p:grpSpPr>
        <p:sp>
          <p:nvSpPr>
            <p:cNvPr id="5" name="maps graphic">
              <a:extLst>
                <a:ext uri="{FF2B5EF4-FFF2-40B4-BE49-F238E27FC236}">
                  <a16:creationId xmlns:a16="http://schemas.microsoft.com/office/drawing/2014/main" id="{2B5E1754-9277-243A-C569-BA50FEE8A3F9}"/>
                </a:ext>
              </a:extLst>
            </p:cNvPr>
            <p:cNvSpPr txBox="1"/>
            <p:nvPr/>
          </p:nvSpPr>
          <p:spPr>
            <a:xfrm>
              <a:off x="3376567" y="1909441"/>
              <a:ext cx="4157185" cy="298864"/>
            </a:xfrm>
            <a:prstGeom prst="rect">
              <a:avLst/>
            </a:prstGeom>
            <a:ln w="12700">
              <a:miter lim="400000"/>
            </a:ln>
            <a:extLst>
              <a:ext uri="{C572A759-6A51-4108-AA02-DFA0A04FC94B}">
                <ma14:wrappingTextBoxFlag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xmlns="" val="1"/>
              </a:ext>
            </a:extLst>
          </p:spPr>
          <p:txBody>
            <a:bodyPr wrap="square" lIns="19050" tIns="19050" rIns="19050" bIns="19050">
              <a:spAutoFit/>
            </a:bodyPr>
            <a:lstStyle/>
            <a:p>
              <a:pPr>
                <a:defRPr sz="5000" b="1" cap="all">
                  <a:latin typeface="Arial Narrow"/>
                  <a:ea typeface="Arial Narrow"/>
                  <a:cs typeface="Arial Narrow"/>
                  <a:sym typeface="Arial Narrow"/>
                </a:defRPr>
              </a:pPr>
              <a:r>
                <a:rPr lang="pt-PT" sz="1880" b="1" cap="all" dirty="0">
                  <a:solidFill>
                    <a:srgbClr val="001436"/>
                  </a:solidFill>
                  <a:sym typeface="Arial Narrow"/>
                </a:rPr>
                <a:t>Disclaimer</a:t>
              </a:r>
              <a:endParaRPr lang="pt-PT" sz="1880" dirty="0">
                <a:solidFill>
                  <a:srgbClr val="001436"/>
                </a:solidFill>
              </a:endParaRPr>
            </a:p>
          </p:txBody>
        </p:sp>
        <p:sp>
          <p:nvSpPr>
            <p:cNvPr id="6"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610B213E-3BEF-2959-DC09-177AE7B2E18D}"/>
                </a:ext>
              </a:extLst>
            </p:cNvPr>
            <p:cNvSpPr txBox="1"/>
            <p:nvPr/>
          </p:nvSpPr>
          <p:spPr>
            <a:xfrm>
              <a:off x="3376567" y="2330479"/>
              <a:ext cx="4946486" cy="944810"/>
            </a:xfrm>
            <a:prstGeom prst="rect">
              <a:avLst/>
            </a:prstGeom>
            <a:ln w="12700">
              <a:miter lim="400000"/>
            </a:ln>
            <a:extLst>
              <a:ext uri="{C572A759-6A51-4108-AA02-DFA0A04FC94B}">
                <ma14:wrappingTextBoxFlag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xmlns="" val="1"/>
              </a:ext>
            </a:extLst>
          </p:spPr>
          <p:txBody>
            <a:bodyPr wrap="square" lIns="19050" tIns="19050" rIns="19050" bIns="19050">
              <a:spAutoFit/>
            </a:bodyPr>
            <a:lstStyle>
              <a:lvl1pPr>
                <a:lnSpc>
                  <a:spcPct val="120000"/>
                </a:lnSpc>
                <a:defRPr sz="2500">
                  <a:solidFill>
                    <a:srgbClr val="808080"/>
                  </a:solidFill>
                  <a:latin typeface="Arial"/>
                  <a:ea typeface="Arial"/>
                  <a:cs typeface="Arial"/>
                  <a:sym typeface="Arial"/>
                </a:defRPr>
              </a:lvl1pPr>
            </a:lstStyle>
            <a:p>
              <a:r>
                <a:rPr lang="pt-BR" sz="1000" b="1" dirty="0">
                  <a:solidFill>
                    <a:srgbClr val="136CB2"/>
                  </a:solidFill>
                </a:rPr>
                <a:t>PRIVATE INFORMATION: </a:t>
              </a:r>
              <a:r>
                <a:rPr lang="en-US" sz="1000" dirty="0"/>
                <a:t>This presentation contains information for internal corporate use. For this reason, it must be limited to the Embraer internal public (employees, partners, and third parties) and must not be disclosed in the partial or total form to the external public. Screenshots or photos of this material are not allowed. If needed, a copy of this content must be requested to the responsible person in Embraer.</a:t>
              </a:r>
              <a:endParaRPr lang="pt-BR" sz="1000" dirty="0"/>
            </a:p>
          </p:txBody>
        </p:sp>
      </p:grpSp>
      <p:pic>
        <p:nvPicPr>
          <p:cNvPr id="7" name="Picture 6">
            <a:extLst>
              <a:ext uri="{FF2B5EF4-FFF2-40B4-BE49-F238E27FC236}">
                <a16:creationId xmlns:a16="http://schemas.microsoft.com/office/drawing/2014/main" id="{E42ADE50-F213-6280-F710-FA8CFA962800}"/>
              </a:ext>
            </a:extLst>
          </p:cNvPr>
          <p:cNvPicPr>
            <a:picLocks noChangeAspect="1"/>
          </p:cNvPicPr>
          <p:nvPr userDrawn="1"/>
        </p:nvPicPr>
        <p:blipFill>
          <a:blip r:embed="rId3"/>
          <a:stretch>
            <a:fillRect/>
          </a:stretch>
        </p:blipFill>
        <p:spPr>
          <a:xfrm>
            <a:off x="2809271" y="2853131"/>
            <a:ext cx="1143000" cy="1143000"/>
          </a:xfrm>
          <a:prstGeom prst="rect">
            <a:avLst/>
          </a:prstGeom>
        </p:spPr>
      </p:pic>
      <p:grpSp>
        <p:nvGrpSpPr>
          <p:cNvPr id="8" name="Agrupar 17">
            <a:extLst>
              <a:ext uri="{FF2B5EF4-FFF2-40B4-BE49-F238E27FC236}">
                <a16:creationId xmlns:a16="http://schemas.microsoft.com/office/drawing/2014/main" id="{ACB58CB1-7DD2-CC50-872E-A0643B88AD25}"/>
              </a:ext>
            </a:extLst>
          </p:cNvPr>
          <p:cNvGrpSpPr/>
          <p:nvPr userDrawn="1"/>
        </p:nvGrpSpPr>
        <p:grpSpPr>
          <a:xfrm>
            <a:off x="6159305" y="2743738"/>
            <a:ext cx="880256" cy="279617"/>
            <a:chOff x="4376585" y="1919432"/>
            <a:chExt cx="880256" cy="279617"/>
          </a:xfrm>
        </p:grpSpPr>
        <p:grpSp>
          <p:nvGrpSpPr>
            <p:cNvPr id="9" name="Agrupar 18">
              <a:extLst>
                <a:ext uri="{FF2B5EF4-FFF2-40B4-BE49-F238E27FC236}">
                  <a16:creationId xmlns:a16="http://schemas.microsoft.com/office/drawing/2014/main" id="{CD12B4A5-DA23-87E9-8C04-22F7180CE26F}"/>
                </a:ext>
              </a:extLst>
            </p:cNvPr>
            <p:cNvGrpSpPr/>
            <p:nvPr/>
          </p:nvGrpSpPr>
          <p:grpSpPr>
            <a:xfrm>
              <a:off x="4376585" y="1953658"/>
              <a:ext cx="137835" cy="186498"/>
              <a:chOff x="2968804" y="3444018"/>
              <a:chExt cx="137835" cy="186498"/>
            </a:xfrm>
          </p:grpSpPr>
          <p:sp>
            <p:nvSpPr>
              <p:cNvPr id="31" name="Forma Livre 41">
                <a:extLst>
                  <a:ext uri="{FF2B5EF4-FFF2-40B4-BE49-F238E27FC236}">
                    <a16:creationId xmlns:a16="http://schemas.microsoft.com/office/drawing/2014/main" id="{56BE03C3-3CCB-63DD-C7D4-D0B33A435697}"/>
                  </a:ext>
                </a:extLst>
              </p:cNvPr>
              <p:cNvSpPr/>
              <p:nvPr/>
            </p:nvSpPr>
            <p:spPr>
              <a:xfrm>
                <a:off x="2976915" y="3452135"/>
                <a:ext cx="85587" cy="170276"/>
              </a:xfrm>
              <a:custGeom>
                <a:avLst/>
                <a:gdLst>
                  <a:gd name="connsiteX0" fmla="*/ 20268 w 85587"/>
                  <a:gd name="connsiteY0" fmla="*/ 129730 h 170276"/>
                  <a:gd name="connsiteX1" fmla="*/ 16216 w 85587"/>
                  <a:gd name="connsiteY1" fmla="*/ 125677 h 170276"/>
                  <a:gd name="connsiteX2" fmla="*/ 20268 w 85587"/>
                  <a:gd name="connsiteY2" fmla="*/ 121624 h 170276"/>
                  <a:gd name="connsiteX3" fmla="*/ 37745 w 85587"/>
                  <a:gd name="connsiteY3" fmla="*/ 121624 h 170276"/>
                  <a:gd name="connsiteX4" fmla="*/ 44123 w 85587"/>
                  <a:gd name="connsiteY4" fmla="*/ 105406 h 170276"/>
                  <a:gd name="connsiteX5" fmla="*/ 20268 w 85587"/>
                  <a:gd name="connsiteY5" fmla="*/ 105406 h 170276"/>
                  <a:gd name="connsiteX6" fmla="*/ 16216 w 85587"/>
                  <a:gd name="connsiteY6" fmla="*/ 101353 h 170276"/>
                  <a:gd name="connsiteX7" fmla="*/ 20268 w 85587"/>
                  <a:gd name="connsiteY7" fmla="*/ 97300 h 170276"/>
                  <a:gd name="connsiteX8" fmla="*/ 47313 w 85587"/>
                  <a:gd name="connsiteY8" fmla="*/ 97300 h 170276"/>
                  <a:gd name="connsiteX9" fmla="*/ 53691 w 85587"/>
                  <a:gd name="connsiteY9" fmla="*/ 81082 h 170276"/>
                  <a:gd name="connsiteX10" fmla="*/ 20264 w 85587"/>
                  <a:gd name="connsiteY10" fmla="*/ 81082 h 170276"/>
                  <a:gd name="connsiteX11" fmla="*/ 16211 w 85587"/>
                  <a:gd name="connsiteY11" fmla="*/ 77029 h 170276"/>
                  <a:gd name="connsiteX12" fmla="*/ 20264 w 85587"/>
                  <a:gd name="connsiteY12" fmla="*/ 72976 h 170276"/>
                  <a:gd name="connsiteX13" fmla="*/ 56880 w 85587"/>
                  <a:gd name="connsiteY13" fmla="*/ 72976 h 170276"/>
                  <a:gd name="connsiteX14" fmla="*/ 85588 w 85587"/>
                  <a:gd name="connsiteY14" fmla="*/ 0 h 170276"/>
                  <a:gd name="connsiteX15" fmla="*/ 48642 w 85587"/>
                  <a:gd name="connsiteY15" fmla="*/ 0 h 170276"/>
                  <a:gd name="connsiteX16" fmla="*/ 48642 w 85587"/>
                  <a:gd name="connsiteY16" fmla="*/ 44594 h 170276"/>
                  <a:gd name="connsiteX17" fmla="*/ 44590 w 85587"/>
                  <a:gd name="connsiteY17" fmla="*/ 48648 h 170276"/>
                  <a:gd name="connsiteX18" fmla="*/ 20268 w 85587"/>
                  <a:gd name="connsiteY18" fmla="*/ 48648 h 170276"/>
                  <a:gd name="connsiteX19" fmla="*/ 16216 w 85587"/>
                  <a:gd name="connsiteY19" fmla="*/ 44594 h 170276"/>
                  <a:gd name="connsiteX20" fmla="*/ 20268 w 85587"/>
                  <a:gd name="connsiteY20" fmla="*/ 40541 h 170276"/>
                  <a:gd name="connsiteX21" fmla="*/ 40537 w 85587"/>
                  <a:gd name="connsiteY21" fmla="*/ 40541 h 170276"/>
                  <a:gd name="connsiteX22" fmla="*/ 40537 w 85587"/>
                  <a:gd name="connsiteY22" fmla="*/ 5731 h 170276"/>
                  <a:gd name="connsiteX23" fmla="*/ 1187 w 85587"/>
                  <a:gd name="connsiteY23" fmla="*/ 45090 h 170276"/>
                  <a:gd name="connsiteX24" fmla="*/ 0 w 85587"/>
                  <a:gd name="connsiteY24" fmla="*/ 47956 h 170276"/>
                  <a:gd name="connsiteX25" fmla="*/ 0 w 85587"/>
                  <a:gd name="connsiteY25" fmla="*/ 166223 h 170276"/>
                  <a:gd name="connsiteX26" fmla="*/ 4053 w 85587"/>
                  <a:gd name="connsiteY26" fmla="*/ 170276 h 170276"/>
                  <a:gd name="connsiteX27" fmla="*/ 18610 w 85587"/>
                  <a:gd name="connsiteY27" fmla="*/ 170276 h 170276"/>
                  <a:gd name="connsiteX28" fmla="*/ 34556 w 85587"/>
                  <a:gd name="connsiteY28" fmla="*/ 129735 h 170276"/>
                  <a:gd name="connsiteX29" fmla="*/ 20268 w 85587"/>
                  <a:gd name="connsiteY29" fmla="*/ 129735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5587" h="170276">
                    <a:moveTo>
                      <a:pt x="20268" y="129730"/>
                    </a:moveTo>
                    <a:cubicBezTo>
                      <a:pt x="18031" y="129730"/>
                      <a:pt x="16216" y="127914"/>
                      <a:pt x="16216" y="125677"/>
                    </a:cubicBezTo>
                    <a:cubicBezTo>
                      <a:pt x="16216" y="123439"/>
                      <a:pt x="18031" y="121624"/>
                      <a:pt x="20268" y="121624"/>
                    </a:cubicBezTo>
                    <a:lnTo>
                      <a:pt x="37745" y="121624"/>
                    </a:lnTo>
                    <a:lnTo>
                      <a:pt x="44123" y="105406"/>
                    </a:lnTo>
                    <a:lnTo>
                      <a:pt x="20268" y="105406"/>
                    </a:lnTo>
                    <a:cubicBezTo>
                      <a:pt x="18031" y="105406"/>
                      <a:pt x="16216" y="103591"/>
                      <a:pt x="16216" y="101353"/>
                    </a:cubicBezTo>
                    <a:cubicBezTo>
                      <a:pt x="16216" y="99115"/>
                      <a:pt x="18031" y="97300"/>
                      <a:pt x="20268" y="97300"/>
                    </a:cubicBezTo>
                    <a:lnTo>
                      <a:pt x="47313" y="97300"/>
                    </a:lnTo>
                    <a:lnTo>
                      <a:pt x="53691" y="81082"/>
                    </a:lnTo>
                    <a:lnTo>
                      <a:pt x="20264" y="81082"/>
                    </a:lnTo>
                    <a:cubicBezTo>
                      <a:pt x="18026" y="81082"/>
                      <a:pt x="16211" y="79267"/>
                      <a:pt x="16211" y="77029"/>
                    </a:cubicBezTo>
                    <a:cubicBezTo>
                      <a:pt x="16211" y="74792"/>
                      <a:pt x="18026" y="72976"/>
                      <a:pt x="20264" y="72976"/>
                    </a:cubicBezTo>
                    <a:lnTo>
                      <a:pt x="56880" y="72976"/>
                    </a:lnTo>
                    <a:lnTo>
                      <a:pt x="85588" y="0"/>
                    </a:lnTo>
                    <a:lnTo>
                      <a:pt x="48642" y="0"/>
                    </a:lnTo>
                    <a:lnTo>
                      <a:pt x="48642" y="44594"/>
                    </a:lnTo>
                    <a:cubicBezTo>
                      <a:pt x="48642" y="46832"/>
                      <a:pt x="46827" y="48648"/>
                      <a:pt x="44590" y="48648"/>
                    </a:cubicBezTo>
                    <a:lnTo>
                      <a:pt x="20268" y="48648"/>
                    </a:lnTo>
                    <a:cubicBezTo>
                      <a:pt x="18031" y="48648"/>
                      <a:pt x="16216" y="46832"/>
                      <a:pt x="16216" y="44594"/>
                    </a:cubicBezTo>
                    <a:cubicBezTo>
                      <a:pt x="16216" y="42357"/>
                      <a:pt x="18031" y="40541"/>
                      <a:pt x="20268" y="40541"/>
                    </a:cubicBezTo>
                    <a:lnTo>
                      <a:pt x="40537" y="40541"/>
                    </a:lnTo>
                    <a:lnTo>
                      <a:pt x="40537" y="5731"/>
                    </a:lnTo>
                    <a:lnTo>
                      <a:pt x="1187" y="45090"/>
                    </a:lnTo>
                    <a:cubicBezTo>
                      <a:pt x="422" y="45855"/>
                      <a:pt x="0" y="46871"/>
                      <a:pt x="0" y="47956"/>
                    </a:cubicBezTo>
                    <a:lnTo>
                      <a:pt x="0" y="166223"/>
                    </a:lnTo>
                    <a:cubicBezTo>
                      <a:pt x="0" y="168461"/>
                      <a:pt x="1820" y="170276"/>
                      <a:pt x="4053" y="170276"/>
                    </a:cubicBezTo>
                    <a:lnTo>
                      <a:pt x="18610" y="170276"/>
                    </a:lnTo>
                    <a:lnTo>
                      <a:pt x="34556" y="129735"/>
                    </a:lnTo>
                    <a:lnTo>
                      <a:pt x="20268" y="129735"/>
                    </a:lnTo>
                    <a:close/>
                  </a:path>
                </a:pathLst>
              </a:custGeom>
              <a:noFill/>
              <a:ln w="490" cap="flat">
                <a:noFill/>
                <a:prstDash val="solid"/>
                <a:miter/>
              </a:ln>
            </p:spPr>
            <p:txBody>
              <a:bodyPr rtlCol="0" anchor="ctr"/>
              <a:lstStyle/>
              <a:p>
                <a:endParaRPr/>
              </a:p>
            </p:txBody>
          </p:sp>
          <p:sp>
            <p:nvSpPr>
              <p:cNvPr id="32" name="Forma Livre 42">
                <a:extLst>
                  <a:ext uri="{FF2B5EF4-FFF2-40B4-BE49-F238E27FC236}">
                    <a16:creationId xmlns:a16="http://schemas.microsoft.com/office/drawing/2014/main" id="{27386C04-6A6D-DF0D-3EAE-F4C71AF6D904}"/>
                  </a:ext>
                </a:extLst>
              </p:cNvPr>
              <p:cNvSpPr/>
              <p:nvPr/>
            </p:nvSpPr>
            <p:spPr>
              <a:xfrm>
                <a:off x="3022412" y="3452125"/>
                <a:ext cx="76113" cy="170276"/>
              </a:xfrm>
              <a:custGeom>
                <a:avLst/>
                <a:gdLst>
                  <a:gd name="connsiteX0" fmla="*/ 39629 w 76113"/>
                  <a:gd name="connsiteY0" fmla="*/ 72981 h 170276"/>
                  <a:gd name="connsiteX1" fmla="*/ 43682 w 76113"/>
                  <a:gd name="connsiteY1" fmla="*/ 77034 h 170276"/>
                  <a:gd name="connsiteX2" fmla="*/ 39629 w 76113"/>
                  <a:gd name="connsiteY2" fmla="*/ 81087 h 170276"/>
                  <a:gd name="connsiteX3" fmla="*/ 35047 w 76113"/>
                  <a:gd name="connsiteY3" fmla="*/ 81087 h 170276"/>
                  <a:gd name="connsiteX4" fmla="*/ 28673 w 76113"/>
                  <a:gd name="connsiteY4" fmla="*/ 97305 h 170276"/>
                  <a:gd name="connsiteX5" fmla="*/ 55845 w 76113"/>
                  <a:gd name="connsiteY5" fmla="*/ 97305 h 170276"/>
                  <a:gd name="connsiteX6" fmla="*/ 59898 w 76113"/>
                  <a:gd name="connsiteY6" fmla="*/ 101358 h 170276"/>
                  <a:gd name="connsiteX7" fmla="*/ 55845 w 76113"/>
                  <a:gd name="connsiteY7" fmla="*/ 105411 h 170276"/>
                  <a:gd name="connsiteX8" fmla="*/ 25489 w 76113"/>
                  <a:gd name="connsiteY8" fmla="*/ 105411 h 170276"/>
                  <a:gd name="connsiteX9" fmla="*/ 19115 w 76113"/>
                  <a:gd name="connsiteY9" fmla="*/ 121629 h 170276"/>
                  <a:gd name="connsiteX10" fmla="*/ 55845 w 76113"/>
                  <a:gd name="connsiteY10" fmla="*/ 121629 h 170276"/>
                  <a:gd name="connsiteX11" fmla="*/ 59898 w 76113"/>
                  <a:gd name="connsiteY11" fmla="*/ 125682 h 170276"/>
                  <a:gd name="connsiteX12" fmla="*/ 55845 w 76113"/>
                  <a:gd name="connsiteY12" fmla="*/ 129735 h 170276"/>
                  <a:gd name="connsiteX13" fmla="*/ 15931 w 76113"/>
                  <a:gd name="connsiteY13" fmla="*/ 129735 h 170276"/>
                  <a:gd name="connsiteX14" fmla="*/ 9558 w 76113"/>
                  <a:gd name="connsiteY14" fmla="*/ 145952 h 170276"/>
                  <a:gd name="connsiteX15" fmla="*/ 55845 w 76113"/>
                  <a:gd name="connsiteY15" fmla="*/ 145952 h 170276"/>
                  <a:gd name="connsiteX16" fmla="*/ 59898 w 76113"/>
                  <a:gd name="connsiteY16" fmla="*/ 150005 h 170276"/>
                  <a:gd name="connsiteX17" fmla="*/ 55845 w 76113"/>
                  <a:gd name="connsiteY17" fmla="*/ 154059 h 170276"/>
                  <a:gd name="connsiteX18" fmla="*/ 6373 w 76113"/>
                  <a:gd name="connsiteY18" fmla="*/ 154059 h 170276"/>
                  <a:gd name="connsiteX19" fmla="*/ 0 w 76113"/>
                  <a:gd name="connsiteY19" fmla="*/ 170276 h 170276"/>
                  <a:gd name="connsiteX20" fmla="*/ 72061 w 76113"/>
                  <a:gd name="connsiteY20" fmla="*/ 170276 h 170276"/>
                  <a:gd name="connsiteX21" fmla="*/ 76113 w 76113"/>
                  <a:gd name="connsiteY21" fmla="*/ 166223 h 170276"/>
                  <a:gd name="connsiteX22" fmla="*/ 76113 w 76113"/>
                  <a:gd name="connsiteY22" fmla="*/ 4053 h 170276"/>
                  <a:gd name="connsiteX23" fmla="*/ 72061 w 76113"/>
                  <a:gd name="connsiteY23" fmla="*/ 0 h 170276"/>
                  <a:gd name="connsiteX24" fmla="*/ 66914 w 76113"/>
                  <a:gd name="connsiteY24" fmla="*/ 0 h 170276"/>
                  <a:gd name="connsiteX25" fmla="*/ 38236 w 76113"/>
                  <a:gd name="connsiteY25" fmla="*/ 72976 h 170276"/>
                  <a:gd name="connsiteX26" fmla="*/ 39629 w 76113"/>
                  <a:gd name="connsiteY26" fmla="*/ 72976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113" h="170276">
                    <a:moveTo>
                      <a:pt x="39629" y="72981"/>
                    </a:moveTo>
                    <a:cubicBezTo>
                      <a:pt x="41867" y="72981"/>
                      <a:pt x="43682" y="74797"/>
                      <a:pt x="43682" y="77034"/>
                    </a:cubicBezTo>
                    <a:cubicBezTo>
                      <a:pt x="43682" y="79272"/>
                      <a:pt x="41867" y="81087"/>
                      <a:pt x="39629" y="81087"/>
                    </a:cubicBezTo>
                    <a:lnTo>
                      <a:pt x="35047" y="81087"/>
                    </a:lnTo>
                    <a:lnTo>
                      <a:pt x="28673" y="97305"/>
                    </a:lnTo>
                    <a:lnTo>
                      <a:pt x="55845" y="97305"/>
                    </a:lnTo>
                    <a:cubicBezTo>
                      <a:pt x="58082" y="97305"/>
                      <a:pt x="59898" y="99120"/>
                      <a:pt x="59898" y="101358"/>
                    </a:cubicBezTo>
                    <a:cubicBezTo>
                      <a:pt x="59898" y="103596"/>
                      <a:pt x="58082" y="105411"/>
                      <a:pt x="55845" y="105411"/>
                    </a:cubicBezTo>
                    <a:lnTo>
                      <a:pt x="25489" y="105411"/>
                    </a:lnTo>
                    <a:lnTo>
                      <a:pt x="19115" y="121629"/>
                    </a:lnTo>
                    <a:lnTo>
                      <a:pt x="55845" y="121629"/>
                    </a:lnTo>
                    <a:cubicBezTo>
                      <a:pt x="58082" y="121629"/>
                      <a:pt x="59898" y="123444"/>
                      <a:pt x="59898" y="125682"/>
                    </a:cubicBezTo>
                    <a:cubicBezTo>
                      <a:pt x="59898" y="127919"/>
                      <a:pt x="58082" y="129735"/>
                      <a:pt x="55845" y="129735"/>
                    </a:cubicBezTo>
                    <a:lnTo>
                      <a:pt x="15931" y="129735"/>
                    </a:lnTo>
                    <a:lnTo>
                      <a:pt x="9558" y="145952"/>
                    </a:lnTo>
                    <a:lnTo>
                      <a:pt x="55845" y="145952"/>
                    </a:lnTo>
                    <a:cubicBezTo>
                      <a:pt x="58082" y="145952"/>
                      <a:pt x="59898" y="147768"/>
                      <a:pt x="59898" y="150005"/>
                    </a:cubicBezTo>
                    <a:cubicBezTo>
                      <a:pt x="59898" y="152243"/>
                      <a:pt x="58082" y="154059"/>
                      <a:pt x="55845" y="154059"/>
                    </a:cubicBezTo>
                    <a:lnTo>
                      <a:pt x="6373" y="154059"/>
                    </a:lnTo>
                    <a:lnTo>
                      <a:pt x="0" y="170276"/>
                    </a:lnTo>
                    <a:lnTo>
                      <a:pt x="72061" y="170276"/>
                    </a:lnTo>
                    <a:cubicBezTo>
                      <a:pt x="74298" y="170276"/>
                      <a:pt x="76113" y="168456"/>
                      <a:pt x="76113" y="166223"/>
                    </a:cubicBezTo>
                    <a:lnTo>
                      <a:pt x="76113" y="4053"/>
                    </a:lnTo>
                    <a:cubicBezTo>
                      <a:pt x="76113" y="1816"/>
                      <a:pt x="74293" y="0"/>
                      <a:pt x="72061" y="0"/>
                    </a:cubicBezTo>
                    <a:lnTo>
                      <a:pt x="66914" y="0"/>
                    </a:lnTo>
                    <a:lnTo>
                      <a:pt x="38236" y="72976"/>
                    </a:lnTo>
                    <a:lnTo>
                      <a:pt x="39629" y="72976"/>
                    </a:lnTo>
                    <a:close/>
                  </a:path>
                </a:pathLst>
              </a:custGeom>
              <a:noFill/>
              <a:ln w="490" cap="flat">
                <a:noFill/>
                <a:prstDash val="solid"/>
                <a:miter/>
              </a:ln>
            </p:spPr>
            <p:txBody>
              <a:bodyPr rtlCol="0" anchor="ctr"/>
              <a:lstStyle/>
              <a:p>
                <a:endParaRPr/>
              </a:p>
            </p:txBody>
          </p:sp>
          <p:sp>
            <p:nvSpPr>
              <p:cNvPr id="33" name="Forma Livre 43">
                <a:extLst>
                  <a:ext uri="{FF2B5EF4-FFF2-40B4-BE49-F238E27FC236}">
                    <a16:creationId xmlns:a16="http://schemas.microsoft.com/office/drawing/2014/main" id="{49EE887F-7625-911D-5E36-D8834245B7B8}"/>
                  </a:ext>
                </a:extLst>
              </p:cNvPr>
              <p:cNvSpPr/>
              <p:nvPr/>
            </p:nvSpPr>
            <p:spPr>
              <a:xfrm>
                <a:off x="2968804" y="3444023"/>
                <a:ext cx="96887" cy="186493"/>
              </a:xfrm>
              <a:custGeom>
                <a:avLst/>
                <a:gdLst>
                  <a:gd name="connsiteX0" fmla="*/ 12163 w 96887"/>
                  <a:gd name="connsiteY0" fmla="*/ 178382 h 186493"/>
                  <a:gd name="connsiteX1" fmla="*/ 8110 w 96887"/>
                  <a:gd name="connsiteY1" fmla="*/ 174329 h 186493"/>
                  <a:gd name="connsiteX2" fmla="*/ 8110 w 96887"/>
                  <a:gd name="connsiteY2" fmla="*/ 56062 h 186493"/>
                  <a:gd name="connsiteX3" fmla="*/ 9298 w 96887"/>
                  <a:gd name="connsiteY3" fmla="*/ 53196 h 186493"/>
                  <a:gd name="connsiteX4" fmla="*/ 48647 w 96887"/>
                  <a:gd name="connsiteY4" fmla="*/ 13838 h 186493"/>
                  <a:gd name="connsiteX5" fmla="*/ 48647 w 96887"/>
                  <a:gd name="connsiteY5" fmla="*/ 48647 h 186493"/>
                  <a:gd name="connsiteX6" fmla="*/ 28379 w 96887"/>
                  <a:gd name="connsiteY6" fmla="*/ 48647 h 186493"/>
                  <a:gd name="connsiteX7" fmla="*/ 24326 w 96887"/>
                  <a:gd name="connsiteY7" fmla="*/ 52701 h 186493"/>
                  <a:gd name="connsiteX8" fmla="*/ 28379 w 96887"/>
                  <a:gd name="connsiteY8" fmla="*/ 56754 h 186493"/>
                  <a:gd name="connsiteX9" fmla="*/ 52700 w 96887"/>
                  <a:gd name="connsiteY9" fmla="*/ 56754 h 186493"/>
                  <a:gd name="connsiteX10" fmla="*/ 56753 w 96887"/>
                  <a:gd name="connsiteY10" fmla="*/ 52701 h 186493"/>
                  <a:gd name="connsiteX11" fmla="*/ 56753 w 96887"/>
                  <a:gd name="connsiteY11" fmla="*/ 8106 h 186493"/>
                  <a:gd name="connsiteX12" fmla="*/ 93698 w 96887"/>
                  <a:gd name="connsiteY12" fmla="*/ 8106 h 186493"/>
                  <a:gd name="connsiteX13" fmla="*/ 96887 w 96887"/>
                  <a:gd name="connsiteY13" fmla="*/ 0 h 186493"/>
                  <a:gd name="connsiteX14" fmla="*/ 56061 w 96887"/>
                  <a:gd name="connsiteY14" fmla="*/ 0 h 186493"/>
                  <a:gd name="connsiteX15" fmla="*/ 53897 w 96887"/>
                  <a:gd name="connsiteY15" fmla="*/ 201 h 186493"/>
                  <a:gd name="connsiteX16" fmla="*/ 52700 w 96887"/>
                  <a:gd name="connsiteY16" fmla="*/ 0 h 186493"/>
                  <a:gd name="connsiteX17" fmla="*/ 49128 w 96887"/>
                  <a:gd name="connsiteY17" fmla="*/ 2174 h 186493"/>
                  <a:gd name="connsiteX18" fmla="*/ 47460 w 96887"/>
                  <a:gd name="connsiteY18" fmla="*/ 3558 h 186493"/>
                  <a:gd name="connsiteX19" fmla="*/ 3562 w 96887"/>
                  <a:gd name="connsiteY19" fmla="*/ 47460 h 186493"/>
                  <a:gd name="connsiteX20" fmla="*/ 0 w 96887"/>
                  <a:gd name="connsiteY20" fmla="*/ 56062 h 186493"/>
                  <a:gd name="connsiteX21" fmla="*/ 0 w 96887"/>
                  <a:gd name="connsiteY21" fmla="*/ 174329 h 186493"/>
                  <a:gd name="connsiteX22" fmla="*/ 12163 w 96887"/>
                  <a:gd name="connsiteY22" fmla="*/ 186493 h 186493"/>
                  <a:gd name="connsiteX23" fmla="*/ 23531 w 96887"/>
                  <a:gd name="connsiteY23" fmla="*/ 186493 h 186493"/>
                  <a:gd name="connsiteX24" fmla="*/ 26720 w 96887"/>
                  <a:gd name="connsiteY24" fmla="*/ 178387 h 186493"/>
                  <a:gd name="connsiteX25" fmla="*/ 12163 w 96887"/>
                  <a:gd name="connsiteY25" fmla="*/ 178387 h 18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6887" h="186493">
                    <a:moveTo>
                      <a:pt x="12163" y="178382"/>
                    </a:moveTo>
                    <a:cubicBezTo>
                      <a:pt x="9926" y="178382"/>
                      <a:pt x="8110" y="176562"/>
                      <a:pt x="8110" y="174329"/>
                    </a:cubicBezTo>
                    <a:lnTo>
                      <a:pt x="8110" y="56062"/>
                    </a:lnTo>
                    <a:cubicBezTo>
                      <a:pt x="8110" y="54977"/>
                      <a:pt x="8532" y="53962"/>
                      <a:pt x="9298" y="53196"/>
                    </a:cubicBezTo>
                    <a:lnTo>
                      <a:pt x="48647" y="13838"/>
                    </a:lnTo>
                    <a:lnTo>
                      <a:pt x="48647" y="48647"/>
                    </a:lnTo>
                    <a:lnTo>
                      <a:pt x="28379" y="48647"/>
                    </a:lnTo>
                    <a:cubicBezTo>
                      <a:pt x="26141" y="48647"/>
                      <a:pt x="24326" y="50463"/>
                      <a:pt x="24326" y="52701"/>
                    </a:cubicBezTo>
                    <a:cubicBezTo>
                      <a:pt x="24326" y="54938"/>
                      <a:pt x="26141" y="56754"/>
                      <a:pt x="28379" y="56754"/>
                    </a:cubicBezTo>
                    <a:lnTo>
                      <a:pt x="52700" y="56754"/>
                    </a:lnTo>
                    <a:cubicBezTo>
                      <a:pt x="54937" y="56754"/>
                      <a:pt x="56753" y="54938"/>
                      <a:pt x="56753" y="52701"/>
                    </a:cubicBezTo>
                    <a:lnTo>
                      <a:pt x="56753" y="8106"/>
                    </a:lnTo>
                    <a:lnTo>
                      <a:pt x="93698" y="8106"/>
                    </a:lnTo>
                    <a:lnTo>
                      <a:pt x="96887" y="0"/>
                    </a:lnTo>
                    <a:lnTo>
                      <a:pt x="56061" y="0"/>
                    </a:lnTo>
                    <a:cubicBezTo>
                      <a:pt x="55330" y="0"/>
                      <a:pt x="54604" y="74"/>
                      <a:pt x="53897" y="201"/>
                    </a:cubicBezTo>
                    <a:cubicBezTo>
                      <a:pt x="53514" y="83"/>
                      <a:pt x="53122" y="0"/>
                      <a:pt x="52700" y="0"/>
                    </a:cubicBezTo>
                    <a:cubicBezTo>
                      <a:pt x="51145" y="0"/>
                      <a:pt x="49805" y="888"/>
                      <a:pt x="49128" y="2174"/>
                    </a:cubicBezTo>
                    <a:cubicBezTo>
                      <a:pt x="48539" y="2586"/>
                      <a:pt x="47980" y="3042"/>
                      <a:pt x="47460" y="3558"/>
                    </a:cubicBezTo>
                    <a:lnTo>
                      <a:pt x="3562" y="47460"/>
                    </a:lnTo>
                    <a:cubicBezTo>
                      <a:pt x="1266" y="49756"/>
                      <a:pt x="0" y="52809"/>
                      <a:pt x="0" y="56062"/>
                    </a:cubicBezTo>
                    <a:lnTo>
                      <a:pt x="0" y="174329"/>
                    </a:lnTo>
                    <a:cubicBezTo>
                      <a:pt x="0" y="181037"/>
                      <a:pt x="5456" y="186493"/>
                      <a:pt x="12163" y="186493"/>
                    </a:cubicBezTo>
                    <a:lnTo>
                      <a:pt x="23531" y="186493"/>
                    </a:lnTo>
                    <a:lnTo>
                      <a:pt x="26720" y="178387"/>
                    </a:lnTo>
                    <a:lnTo>
                      <a:pt x="12163" y="178387"/>
                    </a:lnTo>
                    <a:close/>
                  </a:path>
                </a:pathLst>
              </a:custGeom>
              <a:solidFill>
                <a:srgbClr val="001638"/>
              </a:solidFill>
              <a:ln w="9525" cap="flat">
                <a:solidFill>
                  <a:srgbClr val="001638"/>
                </a:solidFill>
                <a:prstDash val="solid"/>
                <a:miter/>
              </a:ln>
            </p:spPr>
            <p:txBody>
              <a:bodyPr rtlCol="0" anchor="ctr"/>
              <a:lstStyle/>
              <a:p>
                <a:endParaRPr/>
              </a:p>
            </p:txBody>
          </p:sp>
          <p:sp>
            <p:nvSpPr>
              <p:cNvPr id="34" name="Forma Livre 44">
                <a:extLst>
                  <a:ext uri="{FF2B5EF4-FFF2-40B4-BE49-F238E27FC236}">
                    <a16:creationId xmlns:a16="http://schemas.microsoft.com/office/drawing/2014/main" id="{0F8E1E22-2535-10E7-3EA7-CC5E22E408EA}"/>
                  </a:ext>
                </a:extLst>
              </p:cNvPr>
              <p:cNvSpPr/>
              <p:nvPr/>
            </p:nvSpPr>
            <p:spPr>
              <a:xfrm>
                <a:off x="3019227" y="3444018"/>
                <a:ext cx="87412" cy="186488"/>
              </a:xfrm>
              <a:custGeom>
                <a:avLst/>
                <a:gdLst>
                  <a:gd name="connsiteX0" fmla="*/ 75245 w 87412"/>
                  <a:gd name="connsiteY0" fmla="*/ 0 h 186488"/>
                  <a:gd name="connsiteX1" fmla="*/ 73282 w 87412"/>
                  <a:gd name="connsiteY1" fmla="*/ 0 h 186488"/>
                  <a:gd name="connsiteX2" fmla="*/ 70098 w 87412"/>
                  <a:gd name="connsiteY2" fmla="*/ 8106 h 186488"/>
                  <a:gd name="connsiteX3" fmla="*/ 75245 w 87412"/>
                  <a:gd name="connsiteY3" fmla="*/ 8106 h 186488"/>
                  <a:gd name="connsiteX4" fmla="*/ 79298 w 87412"/>
                  <a:gd name="connsiteY4" fmla="*/ 12159 h 186488"/>
                  <a:gd name="connsiteX5" fmla="*/ 79298 w 87412"/>
                  <a:gd name="connsiteY5" fmla="*/ 174329 h 186488"/>
                  <a:gd name="connsiteX6" fmla="*/ 75245 w 87412"/>
                  <a:gd name="connsiteY6" fmla="*/ 178382 h 186488"/>
                  <a:gd name="connsiteX7" fmla="*/ 3184 w 87412"/>
                  <a:gd name="connsiteY7" fmla="*/ 178382 h 186488"/>
                  <a:gd name="connsiteX8" fmla="*/ 0 w 87412"/>
                  <a:gd name="connsiteY8" fmla="*/ 186489 h 186488"/>
                  <a:gd name="connsiteX9" fmla="*/ 75250 w 87412"/>
                  <a:gd name="connsiteY9" fmla="*/ 186489 h 186488"/>
                  <a:gd name="connsiteX10" fmla="*/ 87413 w 87412"/>
                  <a:gd name="connsiteY10" fmla="*/ 174324 h 186488"/>
                  <a:gd name="connsiteX11" fmla="*/ 87413 w 87412"/>
                  <a:gd name="connsiteY11" fmla="*/ 12154 h 186488"/>
                  <a:gd name="connsiteX12" fmla="*/ 75245 w 87412"/>
                  <a:gd name="connsiteY12" fmla="*/ 0 h 18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412" h="186488">
                    <a:moveTo>
                      <a:pt x="75245" y="0"/>
                    </a:moveTo>
                    <a:lnTo>
                      <a:pt x="73282" y="0"/>
                    </a:lnTo>
                    <a:lnTo>
                      <a:pt x="70098" y="8106"/>
                    </a:lnTo>
                    <a:lnTo>
                      <a:pt x="75245" y="8106"/>
                    </a:lnTo>
                    <a:cubicBezTo>
                      <a:pt x="77482" y="8106"/>
                      <a:pt x="79298" y="9927"/>
                      <a:pt x="79298" y="12159"/>
                    </a:cubicBezTo>
                    <a:lnTo>
                      <a:pt x="79298" y="174329"/>
                    </a:lnTo>
                    <a:cubicBezTo>
                      <a:pt x="79298" y="176567"/>
                      <a:pt x="77477" y="178382"/>
                      <a:pt x="75245" y="178382"/>
                    </a:cubicBezTo>
                    <a:lnTo>
                      <a:pt x="3184" y="178382"/>
                    </a:lnTo>
                    <a:lnTo>
                      <a:pt x="0" y="186489"/>
                    </a:lnTo>
                    <a:lnTo>
                      <a:pt x="75250" y="186489"/>
                    </a:lnTo>
                    <a:cubicBezTo>
                      <a:pt x="81957" y="186489"/>
                      <a:pt x="87413" y="181032"/>
                      <a:pt x="87413" y="174324"/>
                    </a:cubicBezTo>
                    <a:lnTo>
                      <a:pt x="87413" y="12154"/>
                    </a:lnTo>
                    <a:cubicBezTo>
                      <a:pt x="87408" y="5457"/>
                      <a:pt x="81952" y="0"/>
                      <a:pt x="75245" y="0"/>
                    </a:cubicBezTo>
                    <a:close/>
                  </a:path>
                </a:pathLst>
              </a:custGeom>
              <a:solidFill>
                <a:srgbClr val="001638"/>
              </a:solidFill>
              <a:ln w="9525" cap="flat">
                <a:solidFill>
                  <a:srgbClr val="001638"/>
                </a:solidFill>
                <a:prstDash val="solid"/>
                <a:miter/>
              </a:ln>
            </p:spPr>
            <p:txBody>
              <a:bodyPr rtlCol="0" anchor="ctr"/>
              <a:lstStyle/>
              <a:p>
                <a:endParaRPr/>
              </a:p>
            </p:txBody>
          </p:sp>
          <p:sp>
            <p:nvSpPr>
              <p:cNvPr id="35" name="Forma Livre 45">
                <a:extLst>
                  <a:ext uri="{FF2B5EF4-FFF2-40B4-BE49-F238E27FC236}">
                    <a16:creationId xmlns:a16="http://schemas.microsoft.com/office/drawing/2014/main" id="{BCA9EBA1-0C6E-C360-BA4A-219041B846B4}"/>
                  </a:ext>
                </a:extLst>
              </p:cNvPr>
              <p:cNvSpPr/>
              <p:nvPr/>
            </p:nvSpPr>
            <p:spPr>
              <a:xfrm>
                <a:off x="2993130" y="3525106"/>
                <a:ext cx="40669" cy="8106"/>
              </a:xfrm>
              <a:custGeom>
                <a:avLst/>
                <a:gdLst>
                  <a:gd name="connsiteX0" fmla="*/ 0 w 40669"/>
                  <a:gd name="connsiteY0" fmla="*/ 4053 h 8106"/>
                  <a:gd name="connsiteX1" fmla="*/ 4053 w 40669"/>
                  <a:gd name="connsiteY1" fmla="*/ 8106 h 8106"/>
                  <a:gd name="connsiteX2" fmla="*/ 37480 w 40669"/>
                  <a:gd name="connsiteY2" fmla="*/ 8106 h 8106"/>
                  <a:gd name="connsiteX3" fmla="*/ 40669 w 40669"/>
                  <a:gd name="connsiteY3" fmla="*/ 0 h 8106"/>
                  <a:gd name="connsiteX4" fmla="*/ 4053 w 40669"/>
                  <a:gd name="connsiteY4" fmla="*/ 0 h 8106"/>
                  <a:gd name="connsiteX5" fmla="*/ 0 w 40669"/>
                  <a:gd name="connsiteY5" fmla="*/ 4053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9" h="8106">
                    <a:moveTo>
                      <a:pt x="0" y="4053"/>
                    </a:moveTo>
                    <a:cubicBezTo>
                      <a:pt x="0" y="6291"/>
                      <a:pt x="1815" y="8106"/>
                      <a:pt x="4053" y="8106"/>
                    </a:cubicBezTo>
                    <a:lnTo>
                      <a:pt x="37480" y="8106"/>
                    </a:lnTo>
                    <a:lnTo>
                      <a:pt x="40669" y="0"/>
                    </a:lnTo>
                    <a:lnTo>
                      <a:pt x="4053" y="0"/>
                    </a:lnTo>
                    <a:cubicBezTo>
                      <a:pt x="1810" y="0"/>
                      <a:pt x="0" y="1811"/>
                      <a:pt x="0" y="4053"/>
                    </a:cubicBezTo>
                    <a:close/>
                  </a:path>
                </a:pathLst>
              </a:custGeom>
              <a:solidFill>
                <a:srgbClr val="001638"/>
              </a:solidFill>
              <a:ln w="490" cap="flat">
                <a:noFill/>
                <a:prstDash val="solid"/>
                <a:miter/>
              </a:ln>
            </p:spPr>
            <p:txBody>
              <a:bodyPr rtlCol="0" anchor="ctr"/>
              <a:lstStyle/>
              <a:p>
                <a:endParaRPr/>
              </a:p>
            </p:txBody>
          </p:sp>
          <p:sp>
            <p:nvSpPr>
              <p:cNvPr id="36" name="Forma Livre 46">
                <a:extLst>
                  <a:ext uri="{FF2B5EF4-FFF2-40B4-BE49-F238E27FC236}">
                    <a16:creationId xmlns:a16="http://schemas.microsoft.com/office/drawing/2014/main" id="{7B1E3EC3-D231-B57A-B79A-13869A7A81A4}"/>
                  </a:ext>
                </a:extLst>
              </p:cNvPr>
              <p:cNvSpPr/>
              <p:nvPr/>
            </p:nvSpPr>
            <p:spPr>
              <a:xfrm>
                <a:off x="3057463" y="3525106"/>
                <a:ext cx="8630" cy="8106"/>
              </a:xfrm>
              <a:custGeom>
                <a:avLst/>
                <a:gdLst>
                  <a:gd name="connsiteX0" fmla="*/ 4578 w 8630"/>
                  <a:gd name="connsiteY0" fmla="*/ 8106 h 8106"/>
                  <a:gd name="connsiteX1" fmla="*/ 8630 w 8630"/>
                  <a:gd name="connsiteY1" fmla="*/ 4053 h 8106"/>
                  <a:gd name="connsiteX2" fmla="*/ 4578 w 8630"/>
                  <a:gd name="connsiteY2" fmla="*/ 0 h 8106"/>
                  <a:gd name="connsiteX3" fmla="*/ 3184 w 8630"/>
                  <a:gd name="connsiteY3" fmla="*/ 0 h 8106"/>
                  <a:gd name="connsiteX4" fmla="*/ 0 w 8630"/>
                  <a:gd name="connsiteY4" fmla="*/ 8106 h 8106"/>
                  <a:gd name="connsiteX5" fmla="*/ 4578 w 8630"/>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0" h="8106">
                    <a:moveTo>
                      <a:pt x="4578" y="8106"/>
                    </a:moveTo>
                    <a:cubicBezTo>
                      <a:pt x="6815" y="8106"/>
                      <a:pt x="8630" y="6291"/>
                      <a:pt x="8630" y="4053"/>
                    </a:cubicBezTo>
                    <a:cubicBezTo>
                      <a:pt x="8630" y="1816"/>
                      <a:pt x="6815" y="0"/>
                      <a:pt x="4578" y="0"/>
                    </a:cubicBezTo>
                    <a:lnTo>
                      <a:pt x="3184" y="0"/>
                    </a:lnTo>
                    <a:lnTo>
                      <a:pt x="0" y="8106"/>
                    </a:lnTo>
                    <a:lnTo>
                      <a:pt x="4578" y="8106"/>
                    </a:lnTo>
                    <a:close/>
                  </a:path>
                </a:pathLst>
              </a:custGeom>
              <a:solidFill>
                <a:srgbClr val="001638"/>
              </a:solidFill>
              <a:ln w="490" cap="flat">
                <a:noFill/>
                <a:prstDash val="solid"/>
                <a:miter/>
              </a:ln>
            </p:spPr>
            <p:txBody>
              <a:bodyPr rtlCol="0" anchor="ctr"/>
              <a:lstStyle/>
              <a:p>
                <a:endParaRPr/>
              </a:p>
            </p:txBody>
          </p:sp>
          <p:sp>
            <p:nvSpPr>
              <p:cNvPr id="37" name="Forma Livre 47">
                <a:extLst>
                  <a:ext uri="{FF2B5EF4-FFF2-40B4-BE49-F238E27FC236}">
                    <a16:creationId xmlns:a16="http://schemas.microsoft.com/office/drawing/2014/main" id="{0A738EF9-1B46-C97A-270D-663B362CA3F1}"/>
                  </a:ext>
                </a:extLst>
              </p:cNvPr>
              <p:cNvSpPr/>
              <p:nvPr/>
            </p:nvSpPr>
            <p:spPr>
              <a:xfrm>
                <a:off x="3047901" y="3549430"/>
                <a:ext cx="34408" cy="8106"/>
              </a:xfrm>
              <a:custGeom>
                <a:avLst/>
                <a:gdLst>
                  <a:gd name="connsiteX0" fmla="*/ 30356 w 34408"/>
                  <a:gd name="connsiteY0" fmla="*/ 8106 h 8106"/>
                  <a:gd name="connsiteX1" fmla="*/ 34409 w 34408"/>
                  <a:gd name="connsiteY1" fmla="*/ 4053 h 8106"/>
                  <a:gd name="connsiteX2" fmla="*/ 30356 w 34408"/>
                  <a:gd name="connsiteY2" fmla="*/ 0 h 8106"/>
                  <a:gd name="connsiteX3" fmla="*/ 3184 w 34408"/>
                  <a:gd name="connsiteY3" fmla="*/ 0 h 8106"/>
                  <a:gd name="connsiteX4" fmla="*/ 0 w 34408"/>
                  <a:gd name="connsiteY4" fmla="*/ 8106 h 8106"/>
                  <a:gd name="connsiteX5" fmla="*/ 30356 w 34408"/>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08" h="8106">
                    <a:moveTo>
                      <a:pt x="30356" y="8106"/>
                    </a:moveTo>
                    <a:cubicBezTo>
                      <a:pt x="32593" y="8106"/>
                      <a:pt x="34409" y="6291"/>
                      <a:pt x="34409" y="4053"/>
                    </a:cubicBezTo>
                    <a:cubicBezTo>
                      <a:pt x="34409" y="1816"/>
                      <a:pt x="32593" y="0"/>
                      <a:pt x="30356" y="0"/>
                    </a:cubicBezTo>
                    <a:lnTo>
                      <a:pt x="3184" y="0"/>
                    </a:lnTo>
                    <a:lnTo>
                      <a:pt x="0" y="8106"/>
                    </a:lnTo>
                    <a:lnTo>
                      <a:pt x="30356" y="8106"/>
                    </a:lnTo>
                    <a:close/>
                  </a:path>
                </a:pathLst>
              </a:custGeom>
              <a:solidFill>
                <a:srgbClr val="001638"/>
              </a:solidFill>
              <a:ln w="490" cap="flat">
                <a:noFill/>
                <a:prstDash val="solid"/>
                <a:miter/>
              </a:ln>
            </p:spPr>
            <p:txBody>
              <a:bodyPr rtlCol="0" anchor="ctr"/>
              <a:lstStyle/>
              <a:p>
                <a:endParaRPr/>
              </a:p>
            </p:txBody>
          </p:sp>
          <p:sp>
            <p:nvSpPr>
              <p:cNvPr id="38" name="Forma Livre 48">
                <a:extLst>
                  <a:ext uri="{FF2B5EF4-FFF2-40B4-BE49-F238E27FC236}">
                    <a16:creationId xmlns:a16="http://schemas.microsoft.com/office/drawing/2014/main" id="{02D89A21-EC6B-5071-F540-1C0D431A52E3}"/>
                  </a:ext>
                </a:extLst>
              </p:cNvPr>
              <p:cNvSpPr/>
              <p:nvPr/>
            </p:nvSpPr>
            <p:spPr>
              <a:xfrm>
                <a:off x="2993130" y="3549430"/>
                <a:ext cx="31096" cy="8106"/>
              </a:xfrm>
              <a:custGeom>
                <a:avLst/>
                <a:gdLst>
                  <a:gd name="connsiteX0" fmla="*/ 4053 w 31096"/>
                  <a:gd name="connsiteY0" fmla="*/ 0 h 8106"/>
                  <a:gd name="connsiteX1" fmla="*/ 0 w 31096"/>
                  <a:gd name="connsiteY1" fmla="*/ 4053 h 8106"/>
                  <a:gd name="connsiteX2" fmla="*/ 4053 w 31096"/>
                  <a:gd name="connsiteY2" fmla="*/ 8106 h 8106"/>
                  <a:gd name="connsiteX3" fmla="*/ 27908 w 31096"/>
                  <a:gd name="connsiteY3" fmla="*/ 8106 h 8106"/>
                  <a:gd name="connsiteX4" fmla="*/ 31097 w 31096"/>
                  <a:gd name="connsiteY4" fmla="*/ 0 h 8106"/>
                  <a:gd name="connsiteX5" fmla="*/ 4053 w 31096"/>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96" h="8106">
                    <a:moveTo>
                      <a:pt x="4053" y="0"/>
                    </a:moveTo>
                    <a:cubicBezTo>
                      <a:pt x="1815" y="0"/>
                      <a:pt x="0" y="1816"/>
                      <a:pt x="0" y="4053"/>
                    </a:cubicBezTo>
                    <a:cubicBezTo>
                      <a:pt x="0" y="6291"/>
                      <a:pt x="1815" y="8106"/>
                      <a:pt x="4053" y="8106"/>
                    </a:cubicBezTo>
                    <a:lnTo>
                      <a:pt x="27908" y="8106"/>
                    </a:lnTo>
                    <a:lnTo>
                      <a:pt x="31097" y="0"/>
                    </a:lnTo>
                    <a:lnTo>
                      <a:pt x="4053" y="0"/>
                    </a:lnTo>
                    <a:close/>
                  </a:path>
                </a:pathLst>
              </a:custGeom>
              <a:solidFill>
                <a:srgbClr val="001638"/>
              </a:solidFill>
              <a:ln w="490" cap="flat">
                <a:noFill/>
                <a:prstDash val="solid"/>
                <a:miter/>
              </a:ln>
            </p:spPr>
            <p:txBody>
              <a:bodyPr rtlCol="0" anchor="ctr"/>
              <a:lstStyle/>
              <a:p>
                <a:endParaRPr/>
              </a:p>
            </p:txBody>
          </p:sp>
          <p:sp>
            <p:nvSpPr>
              <p:cNvPr id="39" name="Forma Livre 49">
                <a:extLst>
                  <a:ext uri="{FF2B5EF4-FFF2-40B4-BE49-F238E27FC236}">
                    <a16:creationId xmlns:a16="http://schemas.microsoft.com/office/drawing/2014/main" id="{96F1684B-EB30-8374-6F65-0D04D8F35BFE}"/>
                  </a:ext>
                </a:extLst>
              </p:cNvPr>
              <p:cNvSpPr/>
              <p:nvPr/>
            </p:nvSpPr>
            <p:spPr>
              <a:xfrm>
                <a:off x="2993130" y="3573753"/>
                <a:ext cx="21529" cy="8106"/>
              </a:xfrm>
              <a:custGeom>
                <a:avLst/>
                <a:gdLst>
                  <a:gd name="connsiteX0" fmla="*/ 4053 w 21529"/>
                  <a:gd name="connsiteY0" fmla="*/ 0 h 8106"/>
                  <a:gd name="connsiteX1" fmla="*/ 0 w 21529"/>
                  <a:gd name="connsiteY1" fmla="*/ 4053 h 8106"/>
                  <a:gd name="connsiteX2" fmla="*/ 4053 w 21529"/>
                  <a:gd name="connsiteY2" fmla="*/ 8106 h 8106"/>
                  <a:gd name="connsiteX3" fmla="*/ 18340 w 21529"/>
                  <a:gd name="connsiteY3" fmla="*/ 8106 h 8106"/>
                  <a:gd name="connsiteX4" fmla="*/ 21529 w 21529"/>
                  <a:gd name="connsiteY4" fmla="*/ 0 h 8106"/>
                  <a:gd name="connsiteX5" fmla="*/ 4053 w 21529"/>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29" h="8106">
                    <a:moveTo>
                      <a:pt x="4053" y="0"/>
                    </a:moveTo>
                    <a:cubicBezTo>
                      <a:pt x="1815" y="0"/>
                      <a:pt x="0" y="1816"/>
                      <a:pt x="0" y="4053"/>
                    </a:cubicBezTo>
                    <a:cubicBezTo>
                      <a:pt x="0" y="6291"/>
                      <a:pt x="1815" y="8106"/>
                      <a:pt x="4053" y="8106"/>
                    </a:cubicBezTo>
                    <a:lnTo>
                      <a:pt x="18340" y="8106"/>
                    </a:lnTo>
                    <a:lnTo>
                      <a:pt x="21529" y="0"/>
                    </a:lnTo>
                    <a:lnTo>
                      <a:pt x="4053" y="0"/>
                    </a:lnTo>
                    <a:close/>
                  </a:path>
                </a:pathLst>
              </a:custGeom>
              <a:solidFill>
                <a:srgbClr val="001638"/>
              </a:solidFill>
              <a:ln w="490" cap="flat">
                <a:noFill/>
                <a:prstDash val="solid"/>
                <a:miter/>
              </a:ln>
            </p:spPr>
            <p:txBody>
              <a:bodyPr rtlCol="0" anchor="ctr"/>
              <a:lstStyle/>
              <a:p>
                <a:endParaRPr/>
              </a:p>
            </p:txBody>
          </p:sp>
          <p:sp>
            <p:nvSpPr>
              <p:cNvPr id="40" name="Forma Livre 50">
                <a:extLst>
                  <a:ext uri="{FF2B5EF4-FFF2-40B4-BE49-F238E27FC236}">
                    <a16:creationId xmlns:a16="http://schemas.microsoft.com/office/drawing/2014/main" id="{9D3AF9EF-59B6-41A6-5468-3DDFBA51CB34}"/>
                  </a:ext>
                </a:extLst>
              </p:cNvPr>
              <p:cNvSpPr/>
              <p:nvPr/>
            </p:nvSpPr>
            <p:spPr>
              <a:xfrm>
                <a:off x="3038343" y="3573758"/>
                <a:ext cx="43966" cy="8106"/>
              </a:xfrm>
              <a:custGeom>
                <a:avLst/>
                <a:gdLst>
                  <a:gd name="connsiteX0" fmla="*/ 39914 w 43966"/>
                  <a:gd name="connsiteY0" fmla="*/ 8106 h 8106"/>
                  <a:gd name="connsiteX1" fmla="*/ 43966 w 43966"/>
                  <a:gd name="connsiteY1" fmla="*/ 4053 h 8106"/>
                  <a:gd name="connsiteX2" fmla="*/ 39914 w 43966"/>
                  <a:gd name="connsiteY2" fmla="*/ 0 h 8106"/>
                  <a:gd name="connsiteX3" fmla="*/ 3184 w 43966"/>
                  <a:gd name="connsiteY3" fmla="*/ 0 h 8106"/>
                  <a:gd name="connsiteX4" fmla="*/ 0 w 43966"/>
                  <a:gd name="connsiteY4" fmla="*/ 8106 h 8106"/>
                  <a:gd name="connsiteX5" fmla="*/ 39914 w 43966"/>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66" h="8106">
                    <a:moveTo>
                      <a:pt x="39914" y="8106"/>
                    </a:moveTo>
                    <a:cubicBezTo>
                      <a:pt x="42151" y="8106"/>
                      <a:pt x="43966" y="6291"/>
                      <a:pt x="43966" y="4053"/>
                    </a:cubicBezTo>
                    <a:cubicBezTo>
                      <a:pt x="43966" y="1816"/>
                      <a:pt x="42151" y="0"/>
                      <a:pt x="39914" y="0"/>
                    </a:cubicBezTo>
                    <a:lnTo>
                      <a:pt x="3184" y="0"/>
                    </a:lnTo>
                    <a:lnTo>
                      <a:pt x="0" y="8106"/>
                    </a:lnTo>
                    <a:lnTo>
                      <a:pt x="39914" y="8106"/>
                    </a:lnTo>
                    <a:close/>
                  </a:path>
                </a:pathLst>
              </a:custGeom>
              <a:solidFill>
                <a:srgbClr val="001638"/>
              </a:solidFill>
              <a:ln w="490" cap="flat">
                <a:noFill/>
                <a:prstDash val="solid"/>
                <a:miter/>
              </a:ln>
            </p:spPr>
            <p:txBody>
              <a:bodyPr rtlCol="0" anchor="ctr"/>
              <a:lstStyle/>
              <a:p>
                <a:endParaRPr/>
              </a:p>
            </p:txBody>
          </p:sp>
          <p:sp>
            <p:nvSpPr>
              <p:cNvPr id="41" name="Forma Livre 51">
                <a:extLst>
                  <a:ext uri="{FF2B5EF4-FFF2-40B4-BE49-F238E27FC236}">
                    <a16:creationId xmlns:a16="http://schemas.microsoft.com/office/drawing/2014/main" id="{1D336A0E-72EF-341E-5C28-AAA19CE7570E}"/>
                  </a:ext>
                </a:extLst>
              </p:cNvPr>
              <p:cNvSpPr/>
              <p:nvPr/>
            </p:nvSpPr>
            <p:spPr>
              <a:xfrm>
                <a:off x="3028785" y="3598082"/>
                <a:ext cx="53524" cy="8106"/>
              </a:xfrm>
              <a:custGeom>
                <a:avLst/>
                <a:gdLst>
                  <a:gd name="connsiteX0" fmla="*/ 49471 w 53524"/>
                  <a:gd name="connsiteY0" fmla="*/ 8106 h 8106"/>
                  <a:gd name="connsiteX1" fmla="*/ 53524 w 53524"/>
                  <a:gd name="connsiteY1" fmla="*/ 4053 h 8106"/>
                  <a:gd name="connsiteX2" fmla="*/ 49471 w 53524"/>
                  <a:gd name="connsiteY2" fmla="*/ 0 h 8106"/>
                  <a:gd name="connsiteX3" fmla="*/ 3184 w 53524"/>
                  <a:gd name="connsiteY3" fmla="*/ 0 h 8106"/>
                  <a:gd name="connsiteX4" fmla="*/ 0 w 53524"/>
                  <a:gd name="connsiteY4" fmla="*/ 8106 h 8106"/>
                  <a:gd name="connsiteX5" fmla="*/ 49471 w 53524"/>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4" h="8106">
                    <a:moveTo>
                      <a:pt x="49471" y="8106"/>
                    </a:moveTo>
                    <a:cubicBezTo>
                      <a:pt x="51709" y="8106"/>
                      <a:pt x="53524" y="6291"/>
                      <a:pt x="53524" y="4053"/>
                    </a:cubicBezTo>
                    <a:cubicBezTo>
                      <a:pt x="53524" y="1816"/>
                      <a:pt x="51709" y="0"/>
                      <a:pt x="49471" y="0"/>
                    </a:cubicBezTo>
                    <a:lnTo>
                      <a:pt x="3184" y="0"/>
                    </a:lnTo>
                    <a:lnTo>
                      <a:pt x="0" y="8106"/>
                    </a:lnTo>
                    <a:lnTo>
                      <a:pt x="49471" y="8106"/>
                    </a:lnTo>
                    <a:close/>
                  </a:path>
                </a:pathLst>
              </a:custGeom>
              <a:solidFill>
                <a:srgbClr val="001638"/>
              </a:solidFill>
              <a:ln w="490" cap="flat">
                <a:noFill/>
                <a:prstDash val="solid"/>
                <a:miter/>
              </a:ln>
            </p:spPr>
            <p:txBody>
              <a:bodyPr rtlCol="0" anchor="ctr"/>
              <a:lstStyle/>
              <a:p>
                <a:endParaRPr/>
              </a:p>
            </p:txBody>
          </p:sp>
        </p:grpSp>
        <p:grpSp>
          <p:nvGrpSpPr>
            <p:cNvPr id="10" name="Agrupar 19">
              <a:extLst>
                <a:ext uri="{FF2B5EF4-FFF2-40B4-BE49-F238E27FC236}">
                  <a16:creationId xmlns:a16="http://schemas.microsoft.com/office/drawing/2014/main" id="{C8840DF4-A55B-98A7-38B6-75D0F489119A}"/>
                </a:ext>
              </a:extLst>
            </p:cNvPr>
            <p:cNvGrpSpPr/>
            <p:nvPr/>
          </p:nvGrpSpPr>
          <p:grpSpPr>
            <a:xfrm>
              <a:off x="4673188" y="1957820"/>
              <a:ext cx="212021" cy="184093"/>
              <a:chOff x="3425498" y="802378"/>
              <a:chExt cx="212021" cy="184093"/>
            </a:xfrm>
          </p:grpSpPr>
          <p:sp>
            <p:nvSpPr>
              <p:cNvPr id="23" name="Forma Livre 33">
                <a:extLst>
                  <a:ext uri="{FF2B5EF4-FFF2-40B4-BE49-F238E27FC236}">
                    <a16:creationId xmlns:a16="http://schemas.microsoft.com/office/drawing/2014/main" id="{312E1708-E24B-39F6-4F6F-BA7F465339F3}"/>
                  </a:ext>
                </a:extLst>
              </p:cNvPr>
              <p:cNvSpPr/>
              <p:nvPr/>
            </p:nvSpPr>
            <p:spPr>
              <a:xfrm>
                <a:off x="3517126" y="832271"/>
                <a:ext cx="111557" cy="145363"/>
              </a:xfrm>
              <a:custGeom>
                <a:avLst/>
                <a:gdLst>
                  <a:gd name="connsiteX0" fmla="*/ 57783 w 111557"/>
                  <a:gd name="connsiteY0" fmla="*/ 77250 h 145363"/>
                  <a:gd name="connsiteX1" fmla="*/ 14381 w 111557"/>
                  <a:gd name="connsiteY1" fmla="*/ 120657 h 145363"/>
                  <a:gd name="connsiteX2" fmla="*/ 9803 w 111557"/>
                  <a:gd name="connsiteY2" fmla="*/ 120417 h 145363"/>
                  <a:gd name="connsiteX3" fmla="*/ 0 w 111557"/>
                  <a:gd name="connsiteY3" fmla="*/ 145363 h 145363"/>
                  <a:gd name="connsiteX4" fmla="*/ 92569 w 111557"/>
                  <a:gd name="connsiteY4" fmla="*/ 145363 h 145363"/>
                  <a:gd name="connsiteX5" fmla="*/ 111557 w 111557"/>
                  <a:gd name="connsiteY5" fmla="*/ 126374 h 145363"/>
                  <a:gd name="connsiteX6" fmla="*/ 111557 w 111557"/>
                  <a:gd name="connsiteY6" fmla="*/ 28122 h 145363"/>
                  <a:gd name="connsiteX7" fmla="*/ 92569 w 111557"/>
                  <a:gd name="connsiteY7" fmla="*/ 9132 h 145363"/>
                  <a:gd name="connsiteX8" fmla="*/ 66173 w 111557"/>
                  <a:gd name="connsiteY8" fmla="*/ 9132 h 145363"/>
                  <a:gd name="connsiteX9" fmla="*/ 60766 w 111557"/>
                  <a:gd name="connsiteY9" fmla="*/ 6070 h 145363"/>
                  <a:gd name="connsiteX10" fmla="*/ 57121 w 111557"/>
                  <a:gd name="connsiteY10" fmla="*/ 0 h 145363"/>
                  <a:gd name="connsiteX11" fmla="*/ 40409 w 111557"/>
                  <a:gd name="connsiteY11" fmla="*/ 42529 h 145363"/>
                  <a:gd name="connsiteX12" fmla="*/ 57783 w 111557"/>
                  <a:gd name="connsiteY12" fmla="*/ 77250 h 14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557" h="145363">
                    <a:moveTo>
                      <a:pt x="57783" y="77250"/>
                    </a:moveTo>
                    <a:cubicBezTo>
                      <a:pt x="57783" y="101186"/>
                      <a:pt x="38314" y="120657"/>
                      <a:pt x="14381" y="120657"/>
                    </a:cubicBezTo>
                    <a:cubicBezTo>
                      <a:pt x="12835" y="120657"/>
                      <a:pt x="11309" y="120574"/>
                      <a:pt x="9803" y="120417"/>
                    </a:cubicBezTo>
                    <a:lnTo>
                      <a:pt x="0" y="145363"/>
                    </a:lnTo>
                    <a:lnTo>
                      <a:pt x="92569" y="145363"/>
                    </a:lnTo>
                    <a:cubicBezTo>
                      <a:pt x="103040" y="145363"/>
                      <a:pt x="111557" y="136845"/>
                      <a:pt x="111557" y="126374"/>
                    </a:cubicBezTo>
                    <a:lnTo>
                      <a:pt x="111557" y="28122"/>
                    </a:lnTo>
                    <a:cubicBezTo>
                      <a:pt x="111557" y="17650"/>
                      <a:pt x="103040" y="9132"/>
                      <a:pt x="92569" y="9132"/>
                    </a:cubicBezTo>
                    <a:lnTo>
                      <a:pt x="66173" y="9132"/>
                    </a:lnTo>
                    <a:cubicBezTo>
                      <a:pt x="63970" y="9132"/>
                      <a:pt x="61899" y="7959"/>
                      <a:pt x="60766" y="6070"/>
                    </a:cubicBezTo>
                    <a:lnTo>
                      <a:pt x="57121" y="0"/>
                    </a:lnTo>
                    <a:lnTo>
                      <a:pt x="40409" y="42529"/>
                    </a:lnTo>
                    <a:cubicBezTo>
                      <a:pt x="50953" y="50463"/>
                      <a:pt x="57783" y="63074"/>
                      <a:pt x="57783" y="77250"/>
                    </a:cubicBezTo>
                    <a:close/>
                  </a:path>
                </a:pathLst>
              </a:custGeom>
              <a:noFill/>
              <a:ln w="490" cap="flat">
                <a:noFill/>
                <a:prstDash val="solid"/>
                <a:miter/>
              </a:ln>
            </p:spPr>
            <p:txBody>
              <a:bodyPr rtlCol="0" anchor="ctr"/>
              <a:lstStyle/>
              <a:p>
                <a:endParaRPr/>
              </a:p>
            </p:txBody>
          </p:sp>
          <p:sp>
            <p:nvSpPr>
              <p:cNvPr id="24" name="Forma Livre 34">
                <a:extLst>
                  <a:ext uri="{FF2B5EF4-FFF2-40B4-BE49-F238E27FC236}">
                    <a16:creationId xmlns:a16="http://schemas.microsoft.com/office/drawing/2014/main" id="{73E06F4E-5E48-016A-BA7D-D88E887AA709}"/>
                  </a:ext>
                </a:extLst>
              </p:cNvPr>
              <p:cNvSpPr/>
              <p:nvPr/>
            </p:nvSpPr>
            <p:spPr>
              <a:xfrm>
                <a:off x="3530319" y="883426"/>
                <a:ext cx="35757" cy="60669"/>
              </a:xfrm>
              <a:custGeom>
                <a:avLst/>
                <a:gdLst>
                  <a:gd name="connsiteX0" fmla="*/ 1187 w 35757"/>
                  <a:gd name="connsiteY0" fmla="*/ 60670 h 60669"/>
                  <a:gd name="connsiteX1" fmla="*/ 35758 w 35757"/>
                  <a:gd name="connsiteY1" fmla="*/ 26095 h 60669"/>
                  <a:gd name="connsiteX2" fmla="*/ 23830 w 35757"/>
                  <a:gd name="connsiteY2" fmla="*/ 0 h 60669"/>
                  <a:gd name="connsiteX3" fmla="*/ 0 w 35757"/>
                  <a:gd name="connsiteY3" fmla="*/ 60640 h 60669"/>
                  <a:gd name="connsiteX4" fmla="*/ 1187 w 35757"/>
                  <a:gd name="connsiteY4" fmla="*/ 60670 h 6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7" h="60669">
                    <a:moveTo>
                      <a:pt x="1187" y="60670"/>
                    </a:moveTo>
                    <a:cubicBezTo>
                      <a:pt x="20249" y="60670"/>
                      <a:pt x="35758" y="45159"/>
                      <a:pt x="35758" y="26095"/>
                    </a:cubicBezTo>
                    <a:cubicBezTo>
                      <a:pt x="35758" y="15688"/>
                      <a:pt x="31126" y="6345"/>
                      <a:pt x="23830" y="0"/>
                    </a:cubicBezTo>
                    <a:lnTo>
                      <a:pt x="0" y="60640"/>
                    </a:lnTo>
                    <a:cubicBezTo>
                      <a:pt x="392" y="60655"/>
                      <a:pt x="790" y="60670"/>
                      <a:pt x="1187" y="60670"/>
                    </a:cubicBezTo>
                    <a:close/>
                  </a:path>
                </a:pathLst>
              </a:custGeom>
              <a:noFill/>
              <a:ln w="490" cap="flat">
                <a:noFill/>
                <a:prstDash val="solid"/>
                <a:miter/>
              </a:ln>
            </p:spPr>
            <p:txBody>
              <a:bodyPr rtlCol="0" anchor="ctr"/>
              <a:lstStyle/>
              <a:p>
                <a:endParaRPr/>
              </a:p>
            </p:txBody>
          </p:sp>
          <p:sp>
            <p:nvSpPr>
              <p:cNvPr id="25" name="Forma Livre 35">
                <a:extLst>
                  <a:ext uri="{FF2B5EF4-FFF2-40B4-BE49-F238E27FC236}">
                    <a16:creationId xmlns:a16="http://schemas.microsoft.com/office/drawing/2014/main" id="{95E89DA3-EBE8-EFA1-FFB9-E47105302F9E}"/>
                  </a:ext>
                </a:extLst>
              </p:cNvPr>
              <p:cNvSpPr/>
              <p:nvPr/>
            </p:nvSpPr>
            <p:spPr>
              <a:xfrm>
                <a:off x="3434330" y="811215"/>
                <a:ext cx="121144" cy="166424"/>
              </a:xfrm>
              <a:custGeom>
                <a:avLst/>
                <a:gdLst>
                  <a:gd name="connsiteX0" fmla="*/ 53774 w 121144"/>
                  <a:gd name="connsiteY0" fmla="*/ 98306 h 166424"/>
                  <a:gd name="connsiteX1" fmla="*/ 97177 w 121144"/>
                  <a:gd name="connsiteY1" fmla="*/ 54899 h 166424"/>
                  <a:gd name="connsiteX2" fmla="*/ 99748 w 121144"/>
                  <a:gd name="connsiteY2" fmla="*/ 54977 h 166424"/>
                  <a:gd name="connsiteX3" fmla="*/ 121144 w 121144"/>
                  <a:gd name="connsiteY3" fmla="*/ 584 h 166424"/>
                  <a:gd name="connsiteX4" fmla="*/ 116528 w 121144"/>
                  <a:gd name="connsiteY4" fmla="*/ 0 h 166424"/>
                  <a:gd name="connsiteX5" fmla="*/ 76084 w 121144"/>
                  <a:gd name="connsiteY5" fmla="*/ 0 h 166424"/>
                  <a:gd name="connsiteX6" fmla="*/ 59760 w 121144"/>
                  <a:gd name="connsiteY6" fmla="*/ 9284 h 166424"/>
                  <a:gd name="connsiteX7" fmla="*/ 49167 w 121144"/>
                  <a:gd name="connsiteY7" fmla="*/ 27106 h 166424"/>
                  <a:gd name="connsiteX8" fmla="*/ 43746 w 121144"/>
                  <a:gd name="connsiteY8" fmla="*/ 30192 h 166424"/>
                  <a:gd name="connsiteX9" fmla="*/ 18988 w 121144"/>
                  <a:gd name="connsiteY9" fmla="*/ 30192 h 166424"/>
                  <a:gd name="connsiteX10" fmla="*/ 0 w 121144"/>
                  <a:gd name="connsiteY10" fmla="*/ 49182 h 166424"/>
                  <a:gd name="connsiteX11" fmla="*/ 0 w 121144"/>
                  <a:gd name="connsiteY11" fmla="*/ 147434 h 166424"/>
                  <a:gd name="connsiteX12" fmla="*/ 18988 w 121144"/>
                  <a:gd name="connsiteY12" fmla="*/ 166424 h 166424"/>
                  <a:gd name="connsiteX13" fmla="*/ 55909 w 121144"/>
                  <a:gd name="connsiteY13" fmla="*/ 166424 h 166424"/>
                  <a:gd name="connsiteX14" fmla="*/ 69544 w 121144"/>
                  <a:gd name="connsiteY14" fmla="*/ 131757 h 166424"/>
                  <a:gd name="connsiteX15" fmla="*/ 53774 w 121144"/>
                  <a:gd name="connsiteY15" fmla="*/ 98306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144" h="166424">
                    <a:moveTo>
                      <a:pt x="53774" y="98306"/>
                    </a:moveTo>
                    <a:cubicBezTo>
                      <a:pt x="53774" y="74370"/>
                      <a:pt x="73243" y="54899"/>
                      <a:pt x="97177" y="54899"/>
                    </a:cubicBezTo>
                    <a:cubicBezTo>
                      <a:pt x="98040" y="54899"/>
                      <a:pt x="98894" y="54928"/>
                      <a:pt x="99748" y="54977"/>
                    </a:cubicBezTo>
                    <a:lnTo>
                      <a:pt x="121144" y="584"/>
                    </a:lnTo>
                    <a:cubicBezTo>
                      <a:pt x="119648" y="206"/>
                      <a:pt x="118098" y="0"/>
                      <a:pt x="116528" y="0"/>
                    </a:cubicBezTo>
                    <a:lnTo>
                      <a:pt x="76084" y="0"/>
                    </a:lnTo>
                    <a:cubicBezTo>
                      <a:pt x="69421" y="0"/>
                      <a:pt x="63165" y="3558"/>
                      <a:pt x="59760" y="9284"/>
                    </a:cubicBezTo>
                    <a:lnTo>
                      <a:pt x="49167" y="27106"/>
                    </a:lnTo>
                    <a:cubicBezTo>
                      <a:pt x="48039" y="29010"/>
                      <a:pt x="45958" y="30192"/>
                      <a:pt x="43746" y="30192"/>
                    </a:cubicBezTo>
                    <a:lnTo>
                      <a:pt x="18988" y="30192"/>
                    </a:lnTo>
                    <a:cubicBezTo>
                      <a:pt x="8518" y="30192"/>
                      <a:pt x="0" y="38711"/>
                      <a:pt x="0" y="49182"/>
                    </a:cubicBezTo>
                    <a:lnTo>
                      <a:pt x="0" y="147434"/>
                    </a:lnTo>
                    <a:cubicBezTo>
                      <a:pt x="0" y="157906"/>
                      <a:pt x="8518" y="166424"/>
                      <a:pt x="18988" y="166424"/>
                    </a:cubicBezTo>
                    <a:lnTo>
                      <a:pt x="55909" y="166424"/>
                    </a:lnTo>
                    <a:lnTo>
                      <a:pt x="69544" y="131757"/>
                    </a:lnTo>
                    <a:cubicBezTo>
                      <a:pt x="59917" y="123788"/>
                      <a:pt x="53774" y="111751"/>
                      <a:pt x="53774" y="98306"/>
                    </a:cubicBezTo>
                    <a:close/>
                  </a:path>
                </a:pathLst>
              </a:custGeom>
              <a:noFill/>
              <a:ln w="490" cap="flat">
                <a:noFill/>
                <a:prstDash val="solid"/>
                <a:miter/>
              </a:ln>
            </p:spPr>
            <p:txBody>
              <a:bodyPr rtlCol="0" anchor="ctr"/>
              <a:lstStyle/>
              <a:p>
                <a:endParaRPr/>
              </a:p>
            </p:txBody>
          </p:sp>
          <p:sp>
            <p:nvSpPr>
              <p:cNvPr id="26" name="Forma Livre 36">
                <a:extLst>
                  <a:ext uri="{FF2B5EF4-FFF2-40B4-BE49-F238E27FC236}">
                    <a16:creationId xmlns:a16="http://schemas.microsoft.com/office/drawing/2014/main" id="{AF8FEBE2-5ECF-2011-1EBD-C83E6D69514A}"/>
                  </a:ext>
                </a:extLst>
              </p:cNvPr>
              <p:cNvSpPr/>
              <p:nvPr/>
            </p:nvSpPr>
            <p:spPr>
              <a:xfrm>
                <a:off x="3496936" y="874966"/>
                <a:ext cx="33692" cy="59231"/>
              </a:xfrm>
              <a:custGeom>
                <a:avLst/>
                <a:gdLst>
                  <a:gd name="connsiteX0" fmla="*/ 0 w 33692"/>
                  <a:gd name="connsiteY0" fmla="*/ 34555 h 59231"/>
                  <a:gd name="connsiteX1" fmla="*/ 10392 w 33692"/>
                  <a:gd name="connsiteY1" fmla="*/ 59232 h 59231"/>
                  <a:gd name="connsiteX2" fmla="*/ 33692 w 33692"/>
                  <a:gd name="connsiteY2" fmla="*/ 0 h 59231"/>
                  <a:gd name="connsiteX3" fmla="*/ 0 w 33692"/>
                  <a:gd name="connsiteY3" fmla="*/ 34555 h 59231"/>
                </a:gdLst>
                <a:ahLst/>
                <a:cxnLst>
                  <a:cxn ang="0">
                    <a:pos x="connsiteX0" y="connsiteY0"/>
                  </a:cxn>
                  <a:cxn ang="0">
                    <a:pos x="connsiteX1" y="connsiteY1"/>
                  </a:cxn>
                  <a:cxn ang="0">
                    <a:pos x="connsiteX2" y="connsiteY2"/>
                  </a:cxn>
                  <a:cxn ang="0">
                    <a:pos x="connsiteX3" y="connsiteY3"/>
                  </a:cxn>
                </a:cxnLst>
                <a:rect l="l" t="t" r="r" b="b"/>
                <a:pathLst>
                  <a:path w="33692" h="59231">
                    <a:moveTo>
                      <a:pt x="0" y="34555"/>
                    </a:moveTo>
                    <a:cubicBezTo>
                      <a:pt x="0" y="44212"/>
                      <a:pt x="3984" y="52956"/>
                      <a:pt x="10392" y="59232"/>
                    </a:cubicBezTo>
                    <a:lnTo>
                      <a:pt x="33692" y="0"/>
                    </a:lnTo>
                    <a:cubicBezTo>
                      <a:pt x="15033" y="471"/>
                      <a:pt x="0" y="15786"/>
                      <a:pt x="0" y="34555"/>
                    </a:cubicBezTo>
                    <a:close/>
                  </a:path>
                </a:pathLst>
              </a:custGeom>
              <a:noFill/>
              <a:ln w="490" cap="flat">
                <a:noFill/>
                <a:prstDash val="solid"/>
                <a:miter/>
              </a:ln>
            </p:spPr>
            <p:txBody>
              <a:bodyPr rtlCol="0" anchor="ctr"/>
              <a:lstStyle/>
              <a:p>
                <a:endParaRPr/>
              </a:p>
            </p:txBody>
          </p:sp>
          <p:sp>
            <p:nvSpPr>
              <p:cNvPr id="27" name="Forma Livre 37">
                <a:extLst>
                  <a:ext uri="{FF2B5EF4-FFF2-40B4-BE49-F238E27FC236}">
                    <a16:creationId xmlns:a16="http://schemas.microsoft.com/office/drawing/2014/main" id="{121AED3C-0CE6-EC13-03EC-376DF557A84D}"/>
                  </a:ext>
                </a:extLst>
              </p:cNvPr>
              <p:cNvSpPr/>
              <p:nvPr/>
            </p:nvSpPr>
            <p:spPr>
              <a:xfrm>
                <a:off x="3513662" y="821902"/>
                <a:ext cx="123857" cy="164564"/>
              </a:xfrm>
              <a:custGeom>
                <a:avLst/>
                <a:gdLst>
                  <a:gd name="connsiteX0" fmla="*/ 96033 w 123857"/>
                  <a:gd name="connsiteY0" fmla="*/ 10668 h 164564"/>
                  <a:gd name="connsiteX1" fmla="*/ 71070 w 123857"/>
                  <a:gd name="connsiteY1" fmla="*/ 10668 h 164564"/>
                  <a:gd name="connsiteX2" fmla="*/ 64667 w 123857"/>
                  <a:gd name="connsiteY2" fmla="*/ 0 h 164564"/>
                  <a:gd name="connsiteX3" fmla="*/ 60589 w 123857"/>
                  <a:gd name="connsiteY3" fmla="*/ 10368 h 164564"/>
                  <a:gd name="connsiteX4" fmla="*/ 64235 w 123857"/>
                  <a:gd name="connsiteY4" fmla="*/ 16438 h 164564"/>
                  <a:gd name="connsiteX5" fmla="*/ 69642 w 123857"/>
                  <a:gd name="connsiteY5" fmla="*/ 19500 h 164564"/>
                  <a:gd name="connsiteX6" fmla="*/ 96038 w 123857"/>
                  <a:gd name="connsiteY6" fmla="*/ 19500 h 164564"/>
                  <a:gd name="connsiteX7" fmla="*/ 115026 w 123857"/>
                  <a:gd name="connsiteY7" fmla="*/ 38490 h 164564"/>
                  <a:gd name="connsiteX8" fmla="*/ 115026 w 123857"/>
                  <a:gd name="connsiteY8" fmla="*/ 136742 h 164564"/>
                  <a:gd name="connsiteX9" fmla="*/ 96038 w 123857"/>
                  <a:gd name="connsiteY9" fmla="*/ 155732 h 164564"/>
                  <a:gd name="connsiteX10" fmla="*/ 3469 w 123857"/>
                  <a:gd name="connsiteY10" fmla="*/ 155732 h 164564"/>
                  <a:gd name="connsiteX11" fmla="*/ 0 w 123857"/>
                  <a:gd name="connsiteY11" fmla="*/ 164564 h 164564"/>
                  <a:gd name="connsiteX12" fmla="*/ 96038 w 123857"/>
                  <a:gd name="connsiteY12" fmla="*/ 164564 h 164564"/>
                  <a:gd name="connsiteX13" fmla="*/ 123858 w 123857"/>
                  <a:gd name="connsiteY13" fmla="*/ 136742 h 164564"/>
                  <a:gd name="connsiteX14" fmla="*/ 123858 w 123857"/>
                  <a:gd name="connsiteY14" fmla="*/ 38490 h 164564"/>
                  <a:gd name="connsiteX15" fmla="*/ 96033 w 123857"/>
                  <a:gd name="connsiteY15" fmla="*/ 10668 h 16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57" h="164564">
                    <a:moveTo>
                      <a:pt x="96033" y="10668"/>
                    </a:moveTo>
                    <a:lnTo>
                      <a:pt x="71070" y="10668"/>
                    </a:lnTo>
                    <a:lnTo>
                      <a:pt x="64667" y="0"/>
                    </a:lnTo>
                    <a:lnTo>
                      <a:pt x="60589" y="10368"/>
                    </a:lnTo>
                    <a:lnTo>
                      <a:pt x="64235" y="16438"/>
                    </a:lnTo>
                    <a:cubicBezTo>
                      <a:pt x="65368" y="18328"/>
                      <a:pt x="67439" y="19500"/>
                      <a:pt x="69642" y="19500"/>
                    </a:cubicBezTo>
                    <a:lnTo>
                      <a:pt x="96038" y="19500"/>
                    </a:lnTo>
                    <a:cubicBezTo>
                      <a:pt x="106509" y="19500"/>
                      <a:pt x="115026" y="28019"/>
                      <a:pt x="115026" y="38490"/>
                    </a:cubicBezTo>
                    <a:lnTo>
                      <a:pt x="115026" y="136742"/>
                    </a:lnTo>
                    <a:cubicBezTo>
                      <a:pt x="115026" y="147213"/>
                      <a:pt x="106509" y="155732"/>
                      <a:pt x="96038" y="155732"/>
                    </a:cubicBezTo>
                    <a:lnTo>
                      <a:pt x="3469" y="155732"/>
                    </a:lnTo>
                    <a:lnTo>
                      <a:pt x="0" y="164564"/>
                    </a:lnTo>
                    <a:lnTo>
                      <a:pt x="96038" y="164564"/>
                    </a:lnTo>
                    <a:cubicBezTo>
                      <a:pt x="111376" y="164564"/>
                      <a:pt x="123858" y="152081"/>
                      <a:pt x="123858" y="136742"/>
                    </a:cubicBezTo>
                    <a:lnTo>
                      <a:pt x="123858" y="38490"/>
                    </a:lnTo>
                    <a:cubicBezTo>
                      <a:pt x="123853" y="23151"/>
                      <a:pt x="111371" y="10668"/>
                      <a:pt x="96033" y="10668"/>
                    </a:cubicBezTo>
                    <a:close/>
                  </a:path>
                </a:pathLst>
              </a:custGeom>
              <a:solidFill>
                <a:srgbClr val="001638"/>
              </a:solidFill>
              <a:ln w="9525" cap="flat">
                <a:solidFill>
                  <a:srgbClr val="001638"/>
                </a:solidFill>
                <a:prstDash val="solid"/>
                <a:miter/>
              </a:ln>
            </p:spPr>
            <p:txBody>
              <a:bodyPr rtlCol="0" anchor="ctr"/>
              <a:lstStyle/>
              <a:p>
                <a:endParaRPr/>
              </a:p>
            </p:txBody>
          </p:sp>
          <p:sp>
            <p:nvSpPr>
              <p:cNvPr id="28" name="Forma Livre 38">
                <a:extLst>
                  <a:ext uri="{FF2B5EF4-FFF2-40B4-BE49-F238E27FC236}">
                    <a16:creationId xmlns:a16="http://schemas.microsoft.com/office/drawing/2014/main" id="{9418C261-E262-F46A-E8EE-CF2978271DC3}"/>
                  </a:ext>
                </a:extLst>
              </p:cNvPr>
              <p:cNvSpPr/>
              <p:nvPr/>
            </p:nvSpPr>
            <p:spPr>
              <a:xfrm>
                <a:off x="3425498" y="802378"/>
                <a:ext cx="133228" cy="184093"/>
              </a:xfrm>
              <a:custGeom>
                <a:avLst/>
                <a:gdLst>
                  <a:gd name="connsiteX0" fmla="*/ 27819 w 133228"/>
                  <a:gd name="connsiteY0" fmla="*/ 175257 h 184093"/>
                  <a:gd name="connsiteX1" fmla="*/ 8832 w 133228"/>
                  <a:gd name="connsiteY1" fmla="*/ 156267 h 184093"/>
                  <a:gd name="connsiteX2" fmla="*/ 8832 w 133228"/>
                  <a:gd name="connsiteY2" fmla="*/ 58015 h 184093"/>
                  <a:gd name="connsiteX3" fmla="*/ 27819 w 133228"/>
                  <a:gd name="connsiteY3" fmla="*/ 39025 h 184093"/>
                  <a:gd name="connsiteX4" fmla="*/ 52577 w 133228"/>
                  <a:gd name="connsiteY4" fmla="*/ 39025 h 184093"/>
                  <a:gd name="connsiteX5" fmla="*/ 57999 w 133228"/>
                  <a:gd name="connsiteY5" fmla="*/ 35938 h 184093"/>
                  <a:gd name="connsiteX6" fmla="*/ 68592 w 133228"/>
                  <a:gd name="connsiteY6" fmla="*/ 18116 h 184093"/>
                  <a:gd name="connsiteX7" fmla="*/ 84915 w 133228"/>
                  <a:gd name="connsiteY7" fmla="*/ 8833 h 184093"/>
                  <a:gd name="connsiteX8" fmla="*/ 125359 w 133228"/>
                  <a:gd name="connsiteY8" fmla="*/ 8833 h 184093"/>
                  <a:gd name="connsiteX9" fmla="*/ 129976 w 133228"/>
                  <a:gd name="connsiteY9" fmla="*/ 9416 h 184093"/>
                  <a:gd name="connsiteX10" fmla="*/ 133229 w 133228"/>
                  <a:gd name="connsiteY10" fmla="*/ 1153 h 184093"/>
                  <a:gd name="connsiteX11" fmla="*/ 125359 w 133228"/>
                  <a:gd name="connsiteY11" fmla="*/ 0 h 184093"/>
                  <a:gd name="connsiteX12" fmla="*/ 84915 w 133228"/>
                  <a:gd name="connsiteY12" fmla="*/ 0 h 184093"/>
                  <a:gd name="connsiteX13" fmla="*/ 61002 w 133228"/>
                  <a:gd name="connsiteY13" fmla="*/ 13607 h 184093"/>
                  <a:gd name="connsiteX14" fmla="*/ 51140 w 133228"/>
                  <a:gd name="connsiteY14" fmla="*/ 30197 h 184093"/>
                  <a:gd name="connsiteX15" fmla="*/ 27819 w 133228"/>
                  <a:gd name="connsiteY15" fmla="*/ 30197 h 184093"/>
                  <a:gd name="connsiteX16" fmla="*/ 0 w 133228"/>
                  <a:gd name="connsiteY16" fmla="*/ 58020 h 184093"/>
                  <a:gd name="connsiteX17" fmla="*/ 0 w 133228"/>
                  <a:gd name="connsiteY17" fmla="*/ 156272 h 184093"/>
                  <a:gd name="connsiteX18" fmla="*/ 27819 w 133228"/>
                  <a:gd name="connsiteY18" fmla="*/ 184094 h 184093"/>
                  <a:gd name="connsiteX19" fmla="*/ 61262 w 133228"/>
                  <a:gd name="connsiteY19" fmla="*/ 184094 h 184093"/>
                  <a:gd name="connsiteX20" fmla="*/ 64735 w 133228"/>
                  <a:gd name="connsiteY20" fmla="*/ 175261 h 184093"/>
                  <a:gd name="connsiteX21" fmla="*/ 27819 w 133228"/>
                  <a:gd name="connsiteY21" fmla="*/ 175261 h 18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228" h="184093">
                    <a:moveTo>
                      <a:pt x="27819" y="175257"/>
                    </a:moveTo>
                    <a:cubicBezTo>
                      <a:pt x="17349" y="175257"/>
                      <a:pt x="8832" y="166738"/>
                      <a:pt x="8832" y="156267"/>
                    </a:cubicBezTo>
                    <a:lnTo>
                      <a:pt x="8832" y="58015"/>
                    </a:lnTo>
                    <a:cubicBezTo>
                      <a:pt x="8832" y="47543"/>
                      <a:pt x="17349" y="39025"/>
                      <a:pt x="27819" y="39025"/>
                    </a:cubicBezTo>
                    <a:lnTo>
                      <a:pt x="52577" y="39025"/>
                    </a:lnTo>
                    <a:cubicBezTo>
                      <a:pt x="54790" y="39025"/>
                      <a:pt x="56865" y="37842"/>
                      <a:pt x="57999" y="35938"/>
                    </a:cubicBezTo>
                    <a:lnTo>
                      <a:pt x="68592" y="18116"/>
                    </a:lnTo>
                    <a:cubicBezTo>
                      <a:pt x="71997" y="12390"/>
                      <a:pt x="78253" y="8833"/>
                      <a:pt x="84915" y="8833"/>
                    </a:cubicBezTo>
                    <a:lnTo>
                      <a:pt x="125359" y="8833"/>
                    </a:lnTo>
                    <a:cubicBezTo>
                      <a:pt x="126934" y="8833"/>
                      <a:pt x="128480" y="9039"/>
                      <a:pt x="129976" y="9416"/>
                    </a:cubicBezTo>
                    <a:lnTo>
                      <a:pt x="133229" y="1153"/>
                    </a:lnTo>
                    <a:cubicBezTo>
                      <a:pt x="130702" y="402"/>
                      <a:pt x="128053" y="0"/>
                      <a:pt x="125359" y="0"/>
                    </a:cubicBezTo>
                    <a:lnTo>
                      <a:pt x="84915" y="0"/>
                    </a:lnTo>
                    <a:cubicBezTo>
                      <a:pt x="75152" y="0"/>
                      <a:pt x="65991" y="5211"/>
                      <a:pt x="61002" y="13607"/>
                    </a:cubicBezTo>
                    <a:lnTo>
                      <a:pt x="51140" y="30197"/>
                    </a:lnTo>
                    <a:lnTo>
                      <a:pt x="27819" y="30197"/>
                    </a:lnTo>
                    <a:cubicBezTo>
                      <a:pt x="12482" y="30197"/>
                      <a:pt x="0" y="42681"/>
                      <a:pt x="0" y="58020"/>
                    </a:cubicBezTo>
                    <a:lnTo>
                      <a:pt x="0" y="156272"/>
                    </a:lnTo>
                    <a:cubicBezTo>
                      <a:pt x="0" y="171611"/>
                      <a:pt x="12482" y="184094"/>
                      <a:pt x="27819" y="184094"/>
                    </a:cubicBezTo>
                    <a:lnTo>
                      <a:pt x="61262" y="184094"/>
                    </a:lnTo>
                    <a:lnTo>
                      <a:pt x="64735" y="175261"/>
                    </a:lnTo>
                    <a:lnTo>
                      <a:pt x="27819" y="175261"/>
                    </a:lnTo>
                    <a:close/>
                  </a:path>
                </a:pathLst>
              </a:custGeom>
              <a:solidFill>
                <a:srgbClr val="001638"/>
              </a:solidFill>
              <a:ln w="9525" cap="flat">
                <a:solidFill>
                  <a:srgbClr val="001638"/>
                </a:solidFill>
                <a:prstDash val="solid"/>
                <a:miter/>
              </a:ln>
            </p:spPr>
            <p:txBody>
              <a:bodyPr rtlCol="0" anchor="ctr"/>
              <a:lstStyle/>
              <a:p>
                <a:endParaRPr/>
              </a:p>
            </p:txBody>
          </p:sp>
          <p:sp>
            <p:nvSpPr>
              <p:cNvPr id="29" name="Forma Livre 39">
                <a:extLst>
                  <a:ext uri="{FF2B5EF4-FFF2-40B4-BE49-F238E27FC236}">
                    <a16:creationId xmlns:a16="http://schemas.microsoft.com/office/drawing/2014/main" id="{EC067FE8-70FF-FB1C-AA03-9A2EC8C17A1B}"/>
                  </a:ext>
                </a:extLst>
              </p:cNvPr>
              <p:cNvSpPr/>
              <p:nvPr/>
            </p:nvSpPr>
            <p:spPr>
              <a:xfrm>
                <a:off x="3526929" y="874804"/>
                <a:ext cx="47979" cy="78123"/>
              </a:xfrm>
              <a:custGeom>
                <a:avLst/>
                <a:gdLst>
                  <a:gd name="connsiteX0" fmla="*/ 39148 w 47979"/>
                  <a:gd name="connsiteY0" fmla="*/ 34717 h 78123"/>
                  <a:gd name="connsiteX1" fmla="*/ 4578 w 47979"/>
                  <a:gd name="connsiteY1" fmla="*/ 69291 h 78123"/>
                  <a:gd name="connsiteX2" fmla="*/ 3390 w 47979"/>
                  <a:gd name="connsiteY2" fmla="*/ 69262 h 78123"/>
                  <a:gd name="connsiteX3" fmla="*/ 0 w 47979"/>
                  <a:gd name="connsiteY3" fmla="*/ 77883 h 78123"/>
                  <a:gd name="connsiteX4" fmla="*/ 4578 w 47979"/>
                  <a:gd name="connsiteY4" fmla="*/ 78124 h 78123"/>
                  <a:gd name="connsiteX5" fmla="*/ 47980 w 47979"/>
                  <a:gd name="connsiteY5" fmla="*/ 34717 h 78123"/>
                  <a:gd name="connsiteX6" fmla="*/ 30606 w 47979"/>
                  <a:gd name="connsiteY6" fmla="*/ 0 h 78123"/>
                  <a:gd name="connsiteX7" fmla="*/ 27221 w 47979"/>
                  <a:gd name="connsiteY7" fmla="*/ 8621 h 78123"/>
                  <a:gd name="connsiteX8" fmla="*/ 39148 w 47979"/>
                  <a:gd name="connsiteY8" fmla="*/ 34717 h 7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79" h="78123">
                    <a:moveTo>
                      <a:pt x="39148" y="34717"/>
                    </a:moveTo>
                    <a:cubicBezTo>
                      <a:pt x="39148" y="53780"/>
                      <a:pt x="23639" y="69291"/>
                      <a:pt x="4578" y="69291"/>
                    </a:cubicBezTo>
                    <a:cubicBezTo>
                      <a:pt x="4180" y="69291"/>
                      <a:pt x="3783" y="69276"/>
                      <a:pt x="3390" y="69262"/>
                    </a:cubicBezTo>
                    <a:lnTo>
                      <a:pt x="0" y="77883"/>
                    </a:lnTo>
                    <a:cubicBezTo>
                      <a:pt x="1506" y="78040"/>
                      <a:pt x="3032" y="78124"/>
                      <a:pt x="4578" y="78124"/>
                    </a:cubicBezTo>
                    <a:cubicBezTo>
                      <a:pt x="28511" y="78124"/>
                      <a:pt x="47980" y="58653"/>
                      <a:pt x="47980" y="34717"/>
                    </a:cubicBezTo>
                    <a:cubicBezTo>
                      <a:pt x="47980" y="20540"/>
                      <a:pt x="41150" y="7930"/>
                      <a:pt x="30606" y="0"/>
                    </a:cubicBezTo>
                    <a:lnTo>
                      <a:pt x="27221" y="8621"/>
                    </a:lnTo>
                    <a:cubicBezTo>
                      <a:pt x="34522" y="14966"/>
                      <a:pt x="39148" y="24309"/>
                      <a:pt x="39148" y="34717"/>
                    </a:cubicBezTo>
                    <a:close/>
                  </a:path>
                </a:pathLst>
              </a:custGeom>
              <a:solidFill>
                <a:srgbClr val="001638"/>
              </a:solidFill>
              <a:ln w="490" cap="flat">
                <a:noFill/>
                <a:prstDash val="solid"/>
                <a:miter/>
              </a:ln>
            </p:spPr>
            <p:txBody>
              <a:bodyPr rtlCol="0" anchor="ctr"/>
              <a:lstStyle/>
              <a:p>
                <a:endParaRPr/>
              </a:p>
            </p:txBody>
          </p:sp>
          <p:sp>
            <p:nvSpPr>
              <p:cNvPr id="30" name="Forma Livre 40">
                <a:extLst>
                  <a:ext uri="{FF2B5EF4-FFF2-40B4-BE49-F238E27FC236}">
                    <a16:creationId xmlns:a16="http://schemas.microsoft.com/office/drawing/2014/main" id="{AE99D987-97C5-D7FE-9220-ADAAF047832A}"/>
                  </a:ext>
                </a:extLst>
              </p:cNvPr>
              <p:cNvSpPr/>
              <p:nvPr/>
            </p:nvSpPr>
            <p:spPr>
              <a:xfrm>
                <a:off x="3488104" y="866109"/>
                <a:ext cx="45973" cy="76862"/>
              </a:xfrm>
              <a:custGeom>
                <a:avLst/>
                <a:gdLst>
                  <a:gd name="connsiteX0" fmla="*/ 0 w 45973"/>
                  <a:gd name="connsiteY0" fmla="*/ 43412 h 76862"/>
                  <a:gd name="connsiteX1" fmla="*/ 15769 w 45973"/>
                  <a:gd name="connsiteY1" fmla="*/ 76862 h 76862"/>
                  <a:gd name="connsiteX2" fmla="*/ 19218 w 45973"/>
                  <a:gd name="connsiteY2" fmla="*/ 68089 h 76862"/>
                  <a:gd name="connsiteX3" fmla="*/ 8827 w 45973"/>
                  <a:gd name="connsiteY3" fmla="*/ 43412 h 76862"/>
                  <a:gd name="connsiteX4" fmla="*/ 42519 w 45973"/>
                  <a:gd name="connsiteY4" fmla="*/ 8857 h 76862"/>
                  <a:gd name="connsiteX5" fmla="*/ 45973 w 45973"/>
                  <a:gd name="connsiteY5" fmla="*/ 78 h 76862"/>
                  <a:gd name="connsiteX6" fmla="*/ 43402 w 45973"/>
                  <a:gd name="connsiteY6" fmla="*/ 0 h 76862"/>
                  <a:gd name="connsiteX7" fmla="*/ 0 w 45973"/>
                  <a:gd name="connsiteY7" fmla="*/ 43412 h 7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3" h="76862">
                    <a:moveTo>
                      <a:pt x="0" y="43412"/>
                    </a:moveTo>
                    <a:cubicBezTo>
                      <a:pt x="0" y="56857"/>
                      <a:pt x="6143" y="68894"/>
                      <a:pt x="15769" y="76862"/>
                    </a:cubicBezTo>
                    <a:lnTo>
                      <a:pt x="19218" y="68089"/>
                    </a:lnTo>
                    <a:cubicBezTo>
                      <a:pt x="12811" y="61808"/>
                      <a:pt x="8827" y="53069"/>
                      <a:pt x="8827" y="43412"/>
                    </a:cubicBezTo>
                    <a:cubicBezTo>
                      <a:pt x="8827" y="24643"/>
                      <a:pt x="23860" y="9328"/>
                      <a:pt x="42519" y="8857"/>
                    </a:cubicBezTo>
                    <a:lnTo>
                      <a:pt x="45973" y="78"/>
                    </a:lnTo>
                    <a:cubicBezTo>
                      <a:pt x="45124" y="29"/>
                      <a:pt x="44266" y="0"/>
                      <a:pt x="43402" y="0"/>
                    </a:cubicBezTo>
                    <a:cubicBezTo>
                      <a:pt x="19469" y="0"/>
                      <a:pt x="0" y="19476"/>
                      <a:pt x="0" y="43412"/>
                    </a:cubicBezTo>
                    <a:close/>
                  </a:path>
                </a:pathLst>
              </a:custGeom>
              <a:solidFill>
                <a:srgbClr val="001638"/>
              </a:solidFill>
              <a:ln w="490" cap="flat">
                <a:noFill/>
                <a:prstDash val="solid"/>
                <a:miter/>
              </a:ln>
            </p:spPr>
            <p:txBody>
              <a:bodyPr rtlCol="0" anchor="ctr"/>
              <a:lstStyle/>
              <a:p>
                <a:endParaRPr/>
              </a:p>
            </p:txBody>
          </p:sp>
        </p:grpSp>
        <p:grpSp>
          <p:nvGrpSpPr>
            <p:cNvPr id="11" name="Agrupar 20">
              <a:extLst>
                <a:ext uri="{FF2B5EF4-FFF2-40B4-BE49-F238E27FC236}">
                  <a16:creationId xmlns:a16="http://schemas.microsoft.com/office/drawing/2014/main" id="{408CFE37-3E87-D7C3-50F0-04C50928F67A}"/>
                </a:ext>
              </a:extLst>
            </p:cNvPr>
            <p:cNvGrpSpPr/>
            <p:nvPr/>
          </p:nvGrpSpPr>
          <p:grpSpPr>
            <a:xfrm>
              <a:off x="5020210" y="2000991"/>
              <a:ext cx="236631" cy="133798"/>
              <a:chOff x="3772520" y="845549"/>
              <a:chExt cx="236631" cy="133798"/>
            </a:xfrm>
          </p:grpSpPr>
          <p:sp>
            <p:nvSpPr>
              <p:cNvPr id="16" name="Forma Livre 26">
                <a:extLst>
                  <a:ext uri="{FF2B5EF4-FFF2-40B4-BE49-F238E27FC236}">
                    <a16:creationId xmlns:a16="http://schemas.microsoft.com/office/drawing/2014/main" id="{6F5B7270-5C01-1E82-50FF-BEEC77823108}"/>
                  </a:ext>
                </a:extLst>
              </p:cNvPr>
              <p:cNvSpPr/>
              <p:nvPr/>
            </p:nvSpPr>
            <p:spPr>
              <a:xfrm>
                <a:off x="3781351" y="854386"/>
                <a:ext cx="93472" cy="116132"/>
              </a:xfrm>
              <a:custGeom>
                <a:avLst/>
                <a:gdLst>
                  <a:gd name="connsiteX0" fmla="*/ 10662 w 93472"/>
                  <a:gd name="connsiteY0" fmla="*/ 0 h 116132"/>
                  <a:gd name="connsiteX1" fmla="*/ 0 w 93472"/>
                  <a:gd name="connsiteY1" fmla="*/ 11796 h 116132"/>
                  <a:gd name="connsiteX2" fmla="*/ 0 w 93472"/>
                  <a:gd name="connsiteY2" fmla="*/ 104336 h 116132"/>
                  <a:gd name="connsiteX3" fmla="*/ 10662 w 93472"/>
                  <a:gd name="connsiteY3" fmla="*/ 116133 h 116132"/>
                  <a:gd name="connsiteX4" fmla="*/ 47789 w 93472"/>
                  <a:gd name="connsiteY4" fmla="*/ 116133 h 116132"/>
                  <a:gd name="connsiteX5" fmla="*/ 93472 w 93472"/>
                  <a:gd name="connsiteY5" fmla="*/ 0 h 116132"/>
                  <a:gd name="connsiteX6" fmla="*/ 10662 w 93472"/>
                  <a:gd name="connsiteY6" fmla="*/ 0 h 11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472" h="116132">
                    <a:moveTo>
                      <a:pt x="10662" y="0"/>
                    </a:moveTo>
                    <a:cubicBezTo>
                      <a:pt x="4784" y="0"/>
                      <a:pt x="0" y="5290"/>
                      <a:pt x="0" y="11796"/>
                    </a:cubicBezTo>
                    <a:lnTo>
                      <a:pt x="0" y="104336"/>
                    </a:lnTo>
                    <a:cubicBezTo>
                      <a:pt x="0" y="110843"/>
                      <a:pt x="4784" y="116133"/>
                      <a:pt x="10662" y="116133"/>
                    </a:cubicBezTo>
                    <a:lnTo>
                      <a:pt x="47789" y="116133"/>
                    </a:lnTo>
                    <a:lnTo>
                      <a:pt x="93472" y="0"/>
                    </a:lnTo>
                    <a:lnTo>
                      <a:pt x="10662" y="0"/>
                    </a:lnTo>
                    <a:close/>
                  </a:path>
                </a:pathLst>
              </a:custGeom>
              <a:noFill/>
              <a:ln w="490" cap="flat">
                <a:noFill/>
                <a:prstDash val="solid"/>
                <a:miter/>
              </a:ln>
            </p:spPr>
            <p:txBody>
              <a:bodyPr rtlCol="0" anchor="ctr"/>
              <a:lstStyle/>
              <a:p>
                <a:endParaRPr/>
              </a:p>
            </p:txBody>
          </p:sp>
          <p:sp>
            <p:nvSpPr>
              <p:cNvPr id="17" name="Forma Livre 27">
                <a:extLst>
                  <a:ext uri="{FF2B5EF4-FFF2-40B4-BE49-F238E27FC236}">
                    <a16:creationId xmlns:a16="http://schemas.microsoft.com/office/drawing/2014/main" id="{05FB9DF2-05EA-9789-C6A2-16A566AD3AFD}"/>
                  </a:ext>
                </a:extLst>
              </p:cNvPr>
              <p:cNvSpPr/>
              <p:nvPr/>
            </p:nvSpPr>
            <p:spPr>
              <a:xfrm>
                <a:off x="3950083" y="848788"/>
                <a:ext cx="59068" cy="127320"/>
              </a:xfrm>
              <a:custGeom>
                <a:avLst/>
                <a:gdLst>
                  <a:gd name="connsiteX0" fmla="*/ 56723 w 59068"/>
                  <a:gd name="connsiteY0" fmla="*/ 515 h 127320"/>
                  <a:gd name="connsiteX1" fmla="*/ 52175 w 59068"/>
                  <a:gd name="connsiteY1" fmla="*/ 760 h 127320"/>
                  <a:gd name="connsiteX2" fmla="*/ 0 w 59068"/>
                  <a:gd name="connsiteY2" fmla="*/ 36125 h 127320"/>
                  <a:gd name="connsiteX3" fmla="*/ 0 w 59068"/>
                  <a:gd name="connsiteY3" fmla="*/ 46792 h 127320"/>
                  <a:gd name="connsiteX4" fmla="*/ 50237 w 59068"/>
                  <a:gd name="connsiteY4" fmla="*/ 12743 h 127320"/>
                  <a:gd name="connsiteX5" fmla="*/ 50237 w 59068"/>
                  <a:gd name="connsiteY5" fmla="*/ 114763 h 127320"/>
                  <a:gd name="connsiteX6" fmla="*/ 0 w 59068"/>
                  <a:gd name="connsiteY6" fmla="*/ 82083 h 127320"/>
                  <a:gd name="connsiteX7" fmla="*/ 0 w 59068"/>
                  <a:gd name="connsiteY7" fmla="*/ 92618 h 127320"/>
                  <a:gd name="connsiteX8" fmla="*/ 52244 w 59068"/>
                  <a:gd name="connsiteY8" fmla="*/ 126604 h 127320"/>
                  <a:gd name="connsiteX9" fmla="*/ 54653 w 59068"/>
                  <a:gd name="connsiteY9" fmla="*/ 127320 h 127320"/>
                  <a:gd name="connsiteX10" fmla="*/ 56757 w 59068"/>
                  <a:gd name="connsiteY10" fmla="*/ 126785 h 127320"/>
                  <a:gd name="connsiteX11" fmla="*/ 59068 w 59068"/>
                  <a:gd name="connsiteY11" fmla="*/ 122904 h 127320"/>
                  <a:gd name="connsiteX12" fmla="*/ 59068 w 59068"/>
                  <a:gd name="connsiteY12" fmla="*/ 4416 h 127320"/>
                  <a:gd name="connsiteX13" fmla="*/ 56723 w 59068"/>
                  <a:gd name="connsiteY13" fmla="*/ 515 h 12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68" h="127320">
                    <a:moveTo>
                      <a:pt x="56723" y="515"/>
                    </a:moveTo>
                    <a:cubicBezTo>
                      <a:pt x="55281" y="-251"/>
                      <a:pt x="53529" y="-157"/>
                      <a:pt x="52175" y="760"/>
                    </a:cubicBezTo>
                    <a:lnTo>
                      <a:pt x="0" y="36125"/>
                    </a:lnTo>
                    <a:lnTo>
                      <a:pt x="0" y="46792"/>
                    </a:lnTo>
                    <a:lnTo>
                      <a:pt x="50237" y="12743"/>
                    </a:lnTo>
                    <a:lnTo>
                      <a:pt x="50237" y="114763"/>
                    </a:lnTo>
                    <a:lnTo>
                      <a:pt x="0" y="82083"/>
                    </a:lnTo>
                    <a:lnTo>
                      <a:pt x="0" y="92618"/>
                    </a:lnTo>
                    <a:lnTo>
                      <a:pt x="52244" y="126604"/>
                    </a:lnTo>
                    <a:cubicBezTo>
                      <a:pt x="52975" y="127080"/>
                      <a:pt x="53814" y="127320"/>
                      <a:pt x="54653" y="127320"/>
                    </a:cubicBezTo>
                    <a:cubicBezTo>
                      <a:pt x="55374" y="127320"/>
                      <a:pt x="56100" y="127144"/>
                      <a:pt x="56757" y="126785"/>
                    </a:cubicBezTo>
                    <a:cubicBezTo>
                      <a:pt x="58180" y="126015"/>
                      <a:pt x="59068" y="124523"/>
                      <a:pt x="59068" y="122904"/>
                    </a:cubicBezTo>
                    <a:lnTo>
                      <a:pt x="59068" y="4416"/>
                    </a:lnTo>
                    <a:cubicBezTo>
                      <a:pt x="59068" y="2782"/>
                      <a:pt x="58166" y="1280"/>
                      <a:pt x="56723" y="515"/>
                    </a:cubicBezTo>
                    <a:close/>
                  </a:path>
                </a:pathLst>
              </a:custGeom>
              <a:solidFill>
                <a:srgbClr val="001638"/>
              </a:solidFill>
              <a:ln w="9525" cap="flat">
                <a:solidFill>
                  <a:srgbClr val="001638"/>
                </a:solidFill>
                <a:prstDash val="solid"/>
                <a:miter/>
              </a:ln>
            </p:spPr>
            <p:txBody>
              <a:bodyPr rtlCol="0" anchor="ctr"/>
              <a:lstStyle/>
              <a:p>
                <a:endParaRPr/>
              </a:p>
            </p:txBody>
          </p:sp>
          <p:sp>
            <p:nvSpPr>
              <p:cNvPr id="18" name="Forma Livre 28">
                <a:extLst>
                  <a:ext uri="{FF2B5EF4-FFF2-40B4-BE49-F238E27FC236}">
                    <a16:creationId xmlns:a16="http://schemas.microsoft.com/office/drawing/2014/main" id="{C963E1FE-1343-F21F-AA23-EB561B5D6356}"/>
                  </a:ext>
                </a:extLst>
              </p:cNvPr>
              <p:cNvSpPr/>
              <p:nvPr/>
            </p:nvSpPr>
            <p:spPr>
              <a:xfrm>
                <a:off x="3901666" y="845554"/>
                <a:ext cx="48416" cy="47690"/>
              </a:xfrm>
              <a:custGeom>
                <a:avLst/>
                <a:gdLst>
                  <a:gd name="connsiteX0" fmla="*/ 28923 w 48416"/>
                  <a:gd name="connsiteY0" fmla="*/ 8833 h 47690"/>
                  <a:gd name="connsiteX1" fmla="*/ 39585 w 48416"/>
                  <a:gd name="connsiteY1" fmla="*/ 20629 h 47690"/>
                  <a:gd name="connsiteX2" fmla="*/ 39585 w 48416"/>
                  <a:gd name="connsiteY2" fmla="*/ 47691 h 47690"/>
                  <a:gd name="connsiteX3" fmla="*/ 41523 w 48416"/>
                  <a:gd name="connsiteY3" fmla="*/ 44035 h 47690"/>
                  <a:gd name="connsiteX4" fmla="*/ 48417 w 48416"/>
                  <a:gd name="connsiteY4" fmla="*/ 39364 h 47690"/>
                  <a:gd name="connsiteX5" fmla="*/ 48417 w 48416"/>
                  <a:gd name="connsiteY5" fmla="*/ 20629 h 47690"/>
                  <a:gd name="connsiteX6" fmla="*/ 28923 w 48416"/>
                  <a:gd name="connsiteY6" fmla="*/ 0 h 47690"/>
                  <a:gd name="connsiteX7" fmla="*/ 3469 w 48416"/>
                  <a:gd name="connsiteY7" fmla="*/ 0 h 47690"/>
                  <a:gd name="connsiteX8" fmla="*/ 0 w 48416"/>
                  <a:gd name="connsiteY8" fmla="*/ 8833 h 47690"/>
                  <a:gd name="connsiteX9" fmla="*/ 28923 w 48416"/>
                  <a:gd name="connsiteY9" fmla="*/ 8833 h 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6" h="47690">
                    <a:moveTo>
                      <a:pt x="28923" y="8833"/>
                    </a:moveTo>
                    <a:cubicBezTo>
                      <a:pt x="34801" y="8833"/>
                      <a:pt x="39585" y="14122"/>
                      <a:pt x="39585" y="20629"/>
                    </a:cubicBezTo>
                    <a:lnTo>
                      <a:pt x="39585" y="47691"/>
                    </a:lnTo>
                    <a:cubicBezTo>
                      <a:pt x="39585" y="46228"/>
                      <a:pt x="40311" y="44854"/>
                      <a:pt x="41523" y="44035"/>
                    </a:cubicBezTo>
                    <a:lnTo>
                      <a:pt x="48417" y="39364"/>
                    </a:lnTo>
                    <a:lnTo>
                      <a:pt x="48417" y="20629"/>
                    </a:lnTo>
                    <a:cubicBezTo>
                      <a:pt x="48417" y="9254"/>
                      <a:pt x="39673" y="0"/>
                      <a:pt x="28923" y="0"/>
                    </a:cubicBezTo>
                    <a:lnTo>
                      <a:pt x="3469" y="0"/>
                    </a:lnTo>
                    <a:lnTo>
                      <a:pt x="0" y="8833"/>
                    </a:lnTo>
                    <a:lnTo>
                      <a:pt x="28923" y="8833"/>
                    </a:lnTo>
                    <a:close/>
                  </a:path>
                </a:pathLst>
              </a:custGeom>
              <a:solidFill>
                <a:srgbClr val="001638"/>
              </a:solidFill>
              <a:ln w="9525" cap="flat">
                <a:solidFill>
                  <a:srgbClr val="001638"/>
                </a:solidFill>
                <a:prstDash val="solid"/>
                <a:miter/>
              </a:ln>
            </p:spPr>
            <p:txBody>
              <a:bodyPr rtlCol="0" anchor="ctr"/>
              <a:lstStyle/>
              <a:p>
                <a:endParaRPr/>
              </a:p>
            </p:txBody>
          </p:sp>
          <p:sp>
            <p:nvSpPr>
              <p:cNvPr id="19" name="Forma Livre 29">
                <a:extLst>
                  <a:ext uri="{FF2B5EF4-FFF2-40B4-BE49-F238E27FC236}">
                    <a16:creationId xmlns:a16="http://schemas.microsoft.com/office/drawing/2014/main" id="{C4BCA478-953E-EF98-B0FB-6C92FE40C155}"/>
                  </a:ext>
                </a:extLst>
              </p:cNvPr>
              <p:cNvSpPr/>
              <p:nvPr/>
            </p:nvSpPr>
            <p:spPr>
              <a:xfrm>
                <a:off x="3772520" y="845549"/>
                <a:ext cx="105772" cy="133797"/>
              </a:xfrm>
              <a:custGeom>
                <a:avLst/>
                <a:gdLst>
                  <a:gd name="connsiteX0" fmla="*/ 19493 w 105772"/>
                  <a:gd name="connsiteY0" fmla="*/ 124965 h 133797"/>
                  <a:gd name="connsiteX1" fmla="*/ 8832 w 105772"/>
                  <a:gd name="connsiteY1" fmla="*/ 113169 h 133797"/>
                  <a:gd name="connsiteX2" fmla="*/ 8832 w 105772"/>
                  <a:gd name="connsiteY2" fmla="*/ 20629 h 133797"/>
                  <a:gd name="connsiteX3" fmla="*/ 19493 w 105772"/>
                  <a:gd name="connsiteY3" fmla="*/ 8833 h 133797"/>
                  <a:gd name="connsiteX4" fmla="*/ 102299 w 105772"/>
                  <a:gd name="connsiteY4" fmla="*/ 8833 h 133797"/>
                  <a:gd name="connsiteX5" fmla="*/ 105773 w 105772"/>
                  <a:gd name="connsiteY5" fmla="*/ 0 h 133797"/>
                  <a:gd name="connsiteX6" fmla="*/ 19493 w 105772"/>
                  <a:gd name="connsiteY6" fmla="*/ 0 h 133797"/>
                  <a:gd name="connsiteX7" fmla="*/ 0 w 105772"/>
                  <a:gd name="connsiteY7" fmla="*/ 20629 h 133797"/>
                  <a:gd name="connsiteX8" fmla="*/ 0 w 105772"/>
                  <a:gd name="connsiteY8" fmla="*/ 113169 h 133797"/>
                  <a:gd name="connsiteX9" fmla="*/ 19493 w 105772"/>
                  <a:gd name="connsiteY9" fmla="*/ 133798 h 133797"/>
                  <a:gd name="connsiteX10" fmla="*/ 53146 w 105772"/>
                  <a:gd name="connsiteY10" fmla="*/ 133798 h 133797"/>
                  <a:gd name="connsiteX11" fmla="*/ 56620 w 105772"/>
                  <a:gd name="connsiteY11" fmla="*/ 124965 h 133797"/>
                  <a:gd name="connsiteX12" fmla="*/ 19493 w 105772"/>
                  <a:gd name="connsiteY12" fmla="*/ 124965 h 133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72" h="133797">
                    <a:moveTo>
                      <a:pt x="19493" y="124965"/>
                    </a:moveTo>
                    <a:cubicBezTo>
                      <a:pt x="13615" y="124965"/>
                      <a:pt x="8832" y="119676"/>
                      <a:pt x="8832" y="113169"/>
                    </a:cubicBezTo>
                    <a:lnTo>
                      <a:pt x="8832" y="20629"/>
                    </a:lnTo>
                    <a:cubicBezTo>
                      <a:pt x="8832" y="14122"/>
                      <a:pt x="13615" y="8833"/>
                      <a:pt x="19493" y="8833"/>
                    </a:cubicBezTo>
                    <a:lnTo>
                      <a:pt x="102299" y="8833"/>
                    </a:lnTo>
                    <a:lnTo>
                      <a:pt x="105773" y="0"/>
                    </a:lnTo>
                    <a:lnTo>
                      <a:pt x="19493" y="0"/>
                    </a:lnTo>
                    <a:cubicBezTo>
                      <a:pt x="8743" y="0"/>
                      <a:pt x="0" y="9254"/>
                      <a:pt x="0" y="20629"/>
                    </a:cubicBezTo>
                    <a:lnTo>
                      <a:pt x="0" y="113169"/>
                    </a:lnTo>
                    <a:cubicBezTo>
                      <a:pt x="0" y="124543"/>
                      <a:pt x="8743" y="133798"/>
                      <a:pt x="19493" y="133798"/>
                    </a:cubicBezTo>
                    <a:lnTo>
                      <a:pt x="53146" y="133798"/>
                    </a:lnTo>
                    <a:lnTo>
                      <a:pt x="56620" y="124965"/>
                    </a:lnTo>
                    <a:lnTo>
                      <a:pt x="19493" y="124965"/>
                    </a:lnTo>
                    <a:close/>
                  </a:path>
                </a:pathLst>
              </a:custGeom>
              <a:solidFill>
                <a:srgbClr val="001638"/>
              </a:solidFill>
              <a:ln w="9525" cap="flat">
                <a:solidFill>
                  <a:srgbClr val="001638"/>
                </a:solidFill>
                <a:prstDash val="solid"/>
                <a:miter/>
              </a:ln>
            </p:spPr>
            <p:txBody>
              <a:bodyPr rtlCol="0" anchor="ctr"/>
              <a:lstStyle/>
              <a:p>
                <a:endParaRPr/>
              </a:p>
            </p:txBody>
          </p:sp>
          <p:sp>
            <p:nvSpPr>
              <p:cNvPr id="20" name="Forma Livre 30">
                <a:extLst>
                  <a:ext uri="{FF2B5EF4-FFF2-40B4-BE49-F238E27FC236}">
                    <a16:creationId xmlns:a16="http://schemas.microsoft.com/office/drawing/2014/main" id="{F6F45456-241D-8BA0-5E31-C5F862F5E590}"/>
                  </a:ext>
                </a:extLst>
              </p:cNvPr>
              <p:cNvSpPr/>
              <p:nvPr/>
            </p:nvSpPr>
            <p:spPr>
              <a:xfrm>
                <a:off x="3852558" y="933266"/>
                <a:ext cx="97529" cy="46081"/>
              </a:xfrm>
              <a:custGeom>
                <a:avLst/>
                <a:gdLst>
                  <a:gd name="connsiteX0" fmla="*/ 88693 w 97529"/>
                  <a:gd name="connsiteY0" fmla="*/ 0 h 46081"/>
                  <a:gd name="connsiteX1" fmla="*/ 88693 w 97529"/>
                  <a:gd name="connsiteY1" fmla="*/ 25452 h 46081"/>
                  <a:gd name="connsiteX2" fmla="*/ 78032 w 97529"/>
                  <a:gd name="connsiteY2" fmla="*/ 37249 h 46081"/>
                  <a:gd name="connsiteX3" fmla="*/ 3469 w 97529"/>
                  <a:gd name="connsiteY3" fmla="*/ 37249 h 46081"/>
                  <a:gd name="connsiteX4" fmla="*/ 0 w 97529"/>
                  <a:gd name="connsiteY4" fmla="*/ 46081 h 46081"/>
                  <a:gd name="connsiteX5" fmla="*/ 78037 w 97529"/>
                  <a:gd name="connsiteY5" fmla="*/ 46081 h 46081"/>
                  <a:gd name="connsiteX6" fmla="*/ 97530 w 97529"/>
                  <a:gd name="connsiteY6" fmla="*/ 25452 h 46081"/>
                  <a:gd name="connsiteX7" fmla="*/ 97530 w 97529"/>
                  <a:gd name="connsiteY7" fmla="*/ 8141 h 46081"/>
                  <a:gd name="connsiteX8" fmla="*/ 90705 w 97529"/>
                  <a:gd name="connsiteY8" fmla="*/ 3700 h 46081"/>
                  <a:gd name="connsiteX9" fmla="*/ 88693 w 97529"/>
                  <a:gd name="connsiteY9" fmla="*/ 0 h 4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29" h="46081">
                    <a:moveTo>
                      <a:pt x="88693" y="0"/>
                    </a:moveTo>
                    <a:lnTo>
                      <a:pt x="88693" y="25452"/>
                    </a:lnTo>
                    <a:cubicBezTo>
                      <a:pt x="88693" y="31959"/>
                      <a:pt x="83910" y="37249"/>
                      <a:pt x="78032" y="37249"/>
                    </a:cubicBezTo>
                    <a:lnTo>
                      <a:pt x="3469" y="37249"/>
                    </a:lnTo>
                    <a:lnTo>
                      <a:pt x="0" y="46081"/>
                    </a:lnTo>
                    <a:lnTo>
                      <a:pt x="78037" y="46081"/>
                    </a:lnTo>
                    <a:cubicBezTo>
                      <a:pt x="88787" y="46081"/>
                      <a:pt x="97530" y="36827"/>
                      <a:pt x="97530" y="25452"/>
                    </a:cubicBezTo>
                    <a:lnTo>
                      <a:pt x="97530" y="8141"/>
                    </a:lnTo>
                    <a:lnTo>
                      <a:pt x="90705" y="3700"/>
                    </a:lnTo>
                    <a:cubicBezTo>
                      <a:pt x="89449" y="2890"/>
                      <a:pt x="88693" y="1497"/>
                      <a:pt x="88693" y="0"/>
                    </a:cubicBezTo>
                    <a:close/>
                  </a:path>
                </a:pathLst>
              </a:custGeom>
              <a:solidFill>
                <a:srgbClr val="001638"/>
              </a:solidFill>
              <a:ln w="9525" cap="flat">
                <a:solidFill>
                  <a:srgbClr val="001638"/>
                </a:solidFill>
                <a:prstDash val="solid"/>
                <a:miter/>
              </a:ln>
            </p:spPr>
            <p:txBody>
              <a:bodyPr rtlCol="0" anchor="ctr"/>
              <a:lstStyle/>
              <a:p>
                <a:endParaRPr/>
              </a:p>
            </p:txBody>
          </p:sp>
          <p:sp>
            <p:nvSpPr>
              <p:cNvPr id="21" name="Forma Livre 31">
                <a:extLst>
                  <a:ext uri="{FF2B5EF4-FFF2-40B4-BE49-F238E27FC236}">
                    <a16:creationId xmlns:a16="http://schemas.microsoft.com/office/drawing/2014/main" id="{A4570E42-BA4D-B56F-64BB-B96BD626644F}"/>
                  </a:ext>
                </a:extLst>
              </p:cNvPr>
              <p:cNvSpPr/>
              <p:nvPr/>
            </p:nvSpPr>
            <p:spPr>
              <a:xfrm>
                <a:off x="3941252" y="884917"/>
                <a:ext cx="8831" cy="56493"/>
              </a:xfrm>
              <a:custGeom>
                <a:avLst/>
                <a:gdLst>
                  <a:gd name="connsiteX0" fmla="*/ 8832 w 8831"/>
                  <a:gd name="connsiteY0" fmla="*/ 10668 h 56493"/>
                  <a:gd name="connsiteX1" fmla="*/ 8832 w 8831"/>
                  <a:gd name="connsiteY1" fmla="*/ 0 h 56493"/>
                  <a:gd name="connsiteX2" fmla="*/ 1938 w 8831"/>
                  <a:gd name="connsiteY2" fmla="*/ 4671 h 56493"/>
                  <a:gd name="connsiteX3" fmla="*/ 0 w 8831"/>
                  <a:gd name="connsiteY3" fmla="*/ 8327 h 56493"/>
                  <a:gd name="connsiteX4" fmla="*/ 0 w 8831"/>
                  <a:gd name="connsiteY4" fmla="*/ 48353 h 56493"/>
                  <a:gd name="connsiteX5" fmla="*/ 2007 w 8831"/>
                  <a:gd name="connsiteY5" fmla="*/ 52053 h 56493"/>
                  <a:gd name="connsiteX6" fmla="*/ 8832 w 8831"/>
                  <a:gd name="connsiteY6" fmla="*/ 56494 h 56493"/>
                  <a:gd name="connsiteX7" fmla="*/ 8832 w 8831"/>
                  <a:gd name="connsiteY7" fmla="*/ 45959 h 56493"/>
                  <a:gd name="connsiteX8" fmla="*/ 8832 w 8831"/>
                  <a:gd name="connsiteY8" fmla="*/ 10668 h 5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31" h="56493">
                    <a:moveTo>
                      <a:pt x="8832" y="10668"/>
                    </a:moveTo>
                    <a:lnTo>
                      <a:pt x="8832" y="0"/>
                    </a:lnTo>
                    <a:lnTo>
                      <a:pt x="1938" y="4671"/>
                    </a:lnTo>
                    <a:cubicBezTo>
                      <a:pt x="726" y="5491"/>
                      <a:pt x="0" y="6865"/>
                      <a:pt x="0" y="8327"/>
                    </a:cubicBezTo>
                    <a:lnTo>
                      <a:pt x="0" y="48353"/>
                    </a:lnTo>
                    <a:cubicBezTo>
                      <a:pt x="0" y="49850"/>
                      <a:pt x="755" y="51238"/>
                      <a:pt x="2007" y="52053"/>
                    </a:cubicBezTo>
                    <a:lnTo>
                      <a:pt x="8832" y="56494"/>
                    </a:lnTo>
                    <a:lnTo>
                      <a:pt x="8832" y="45959"/>
                    </a:lnTo>
                    <a:lnTo>
                      <a:pt x="8832" y="10668"/>
                    </a:lnTo>
                    <a:close/>
                  </a:path>
                </a:pathLst>
              </a:custGeom>
              <a:solidFill>
                <a:srgbClr val="001638"/>
              </a:solidFill>
              <a:ln w="9525" cap="flat">
                <a:solidFill>
                  <a:srgbClr val="001638"/>
                </a:solidFill>
                <a:prstDash val="solid"/>
                <a:miter/>
              </a:ln>
            </p:spPr>
            <p:txBody>
              <a:bodyPr rtlCol="0" anchor="ctr"/>
              <a:lstStyle/>
              <a:p>
                <a:endParaRPr/>
              </a:p>
            </p:txBody>
          </p:sp>
          <p:sp>
            <p:nvSpPr>
              <p:cNvPr id="22" name="Forma Livre 32">
                <a:extLst>
                  <a:ext uri="{FF2B5EF4-FFF2-40B4-BE49-F238E27FC236}">
                    <a16:creationId xmlns:a16="http://schemas.microsoft.com/office/drawing/2014/main" id="{E92AC2B5-5230-4C46-E62C-C5AA8315A731}"/>
                  </a:ext>
                </a:extLst>
              </p:cNvPr>
              <p:cNvSpPr/>
              <p:nvPr/>
            </p:nvSpPr>
            <p:spPr>
              <a:xfrm>
                <a:off x="3895160" y="869696"/>
                <a:ext cx="32873" cy="8832"/>
              </a:xfrm>
              <a:custGeom>
                <a:avLst/>
                <a:gdLst>
                  <a:gd name="connsiteX0" fmla="*/ 28457 w 32873"/>
                  <a:gd name="connsiteY0" fmla="*/ 0 h 8832"/>
                  <a:gd name="connsiteX1" fmla="*/ 4416 w 32873"/>
                  <a:gd name="connsiteY1" fmla="*/ 0 h 8832"/>
                  <a:gd name="connsiteX2" fmla="*/ 0 w 32873"/>
                  <a:gd name="connsiteY2" fmla="*/ 4416 h 8832"/>
                  <a:gd name="connsiteX3" fmla="*/ 4416 w 32873"/>
                  <a:gd name="connsiteY3" fmla="*/ 8833 h 8832"/>
                  <a:gd name="connsiteX4" fmla="*/ 28457 w 32873"/>
                  <a:gd name="connsiteY4" fmla="*/ 8833 h 8832"/>
                  <a:gd name="connsiteX5" fmla="*/ 32873 w 32873"/>
                  <a:gd name="connsiteY5" fmla="*/ 4416 h 8832"/>
                  <a:gd name="connsiteX6" fmla="*/ 28457 w 32873"/>
                  <a:gd name="connsiteY6" fmla="*/ 0 h 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73" h="8832">
                    <a:moveTo>
                      <a:pt x="28457" y="0"/>
                    </a:moveTo>
                    <a:lnTo>
                      <a:pt x="4416" y="0"/>
                    </a:lnTo>
                    <a:cubicBezTo>
                      <a:pt x="1977" y="0"/>
                      <a:pt x="0" y="1978"/>
                      <a:pt x="0" y="4416"/>
                    </a:cubicBezTo>
                    <a:cubicBezTo>
                      <a:pt x="0" y="6855"/>
                      <a:pt x="1977" y="8833"/>
                      <a:pt x="4416" y="8833"/>
                    </a:cubicBezTo>
                    <a:lnTo>
                      <a:pt x="28457" y="8833"/>
                    </a:lnTo>
                    <a:cubicBezTo>
                      <a:pt x="30896" y="8833"/>
                      <a:pt x="32873" y="6855"/>
                      <a:pt x="32873" y="4416"/>
                    </a:cubicBezTo>
                    <a:cubicBezTo>
                      <a:pt x="32873" y="1978"/>
                      <a:pt x="30896" y="0"/>
                      <a:pt x="28457" y="0"/>
                    </a:cubicBezTo>
                    <a:close/>
                  </a:path>
                </a:pathLst>
              </a:custGeom>
              <a:solidFill>
                <a:srgbClr val="001638"/>
              </a:solidFill>
              <a:ln w="9525" cap="flat">
                <a:noFill/>
                <a:prstDash val="solid"/>
                <a:miter/>
              </a:ln>
            </p:spPr>
            <p:txBody>
              <a:bodyPr rtlCol="0" anchor="ctr"/>
              <a:lstStyle/>
              <a:p>
                <a:endParaRPr/>
              </a:p>
            </p:txBody>
          </p:sp>
        </p:grpSp>
        <p:grpSp>
          <p:nvGrpSpPr>
            <p:cNvPr id="12" name="Gráfico 2">
              <a:extLst>
                <a:ext uri="{FF2B5EF4-FFF2-40B4-BE49-F238E27FC236}">
                  <a16:creationId xmlns:a16="http://schemas.microsoft.com/office/drawing/2014/main" id="{1407AE17-8979-6179-5F7A-B87828CD6F27}"/>
                </a:ext>
              </a:extLst>
            </p:cNvPr>
            <p:cNvGrpSpPr/>
            <p:nvPr/>
          </p:nvGrpSpPr>
          <p:grpSpPr>
            <a:xfrm>
              <a:off x="4393660" y="1919432"/>
              <a:ext cx="774846" cy="279617"/>
              <a:chOff x="3145970" y="763990"/>
              <a:chExt cx="774846" cy="279617"/>
            </a:xfrm>
          </p:grpSpPr>
          <p:sp>
            <p:nvSpPr>
              <p:cNvPr id="13" name="Forma Livre 23">
                <a:extLst>
                  <a:ext uri="{FF2B5EF4-FFF2-40B4-BE49-F238E27FC236}">
                    <a16:creationId xmlns:a16="http://schemas.microsoft.com/office/drawing/2014/main" id="{9477E156-9CA4-929C-4ADB-EA4AC9594CF7}"/>
                  </a:ext>
                </a:extLst>
              </p:cNvPr>
              <p:cNvSpPr/>
              <p:nvPr/>
            </p:nvSpPr>
            <p:spPr>
              <a:xfrm>
                <a:off x="3481166"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14" name="Forma Livre 24">
                <a:extLst>
                  <a:ext uri="{FF2B5EF4-FFF2-40B4-BE49-F238E27FC236}">
                    <a16:creationId xmlns:a16="http://schemas.microsoft.com/office/drawing/2014/main" id="{C7EBFBC1-862E-3B6E-74BC-34AF35DED3EA}"/>
                  </a:ext>
                </a:extLst>
              </p:cNvPr>
              <p:cNvSpPr/>
              <p:nvPr/>
            </p:nvSpPr>
            <p:spPr>
              <a:xfrm>
                <a:off x="3814018" y="771753"/>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15" name="Forma Livre 25">
                <a:extLst>
                  <a:ext uri="{FF2B5EF4-FFF2-40B4-BE49-F238E27FC236}">
                    <a16:creationId xmlns:a16="http://schemas.microsoft.com/office/drawing/2014/main" id="{93599CB0-B4F2-695C-B758-11F8FF35D265}"/>
                  </a:ext>
                </a:extLst>
              </p:cNvPr>
              <p:cNvSpPr/>
              <p:nvPr/>
            </p:nvSpPr>
            <p:spPr>
              <a:xfrm>
                <a:off x="3145970"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grpSp>
      </p:grpSp>
      <p:sp>
        <p:nvSpPr>
          <p:cNvPr id="43" name="Rectangle 42" hidden="1">
            <a:extLst>
              <a:ext uri="{FF2B5EF4-FFF2-40B4-BE49-F238E27FC236}">
                <a16:creationId xmlns:a16="http://schemas.microsoft.com/office/drawing/2014/main" id="{69C64F39-F532-1026-1505-CD88DFF97766}"/>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2" name="Date Placeholder 41">
            <a:extLst>
              <a:ext uri="{FF2B5EF4-FFF2-40B4-BE49-F238E27FC236}">
                <a16:creationId xmlns:a16="http://schemas.microsoft.com/office/drawing/2014/main" id="{0ED8710A-C9E3-7580-67DA-2E409CB35CBB}"/>
              </a:ext>
            </a:extLst>
          </p:cNvPr>
          <p:cNvSpPr>
            <a:spLocks noGrp="1"/>
          </p:cNvSpPr>
          <p:nvPr>
            <p:ph type="dt" sz="half" idx="10"/>
          </p:nvPr>
        </p:nvSpPr>
        <p:spPr/>
        <p:txBody>
          <a:bodyPr/>
          <a:lstStyle/>
          <a:p>
            <a:fld id="{F4A98CF3-62E0-4757-9CD5-F62EC62DA1C3}" type="datetime1">
              <a:rPr lang="en-US"/>
              <a:t>11/16/2024</a:t>
            </a:fld>
            <a:endParaRPr lang="en-US" dirty="0"/>
          </a:p>
        </p:txBody>
      </p:sp>
      <p:sp>
        <p:nvSpPr>
          <p:cNvPr id="44" name="Footer Placeholder 43">
            <a:extLst>
              <a:ext uri="{FF2B5EF4-FFF2-40B4-BE49-F238E27FC236}">
                <a16:creationId xmlns:a16="http://schemas.microsoft.com/office/drawing/2014/main" id="{A85F66C7-2060-D247-20CD-F4CE0594D76B}"/>
              </a:ext>
            </a:extLst>
          </p:cNvPr>
          <p:cNvSpPr>
            <a:spLocks noGrp="1"/>
          </p:cNvSpPr>
          <p:nvPr>
            <p:ph type="ftr" sz="quarter" idx="11"/>
          </p:nvPr>
        </p:nvSpPr>
        <p:spPr/>
        <p:txBody>
          <a:bodyPr/>
          <a:lstStyle/>
          <a:p>
            <a:endParaRPr lang="en-US" dirty="0"/>
          </a:p>
        </p:txBody>
      </p:sp>
      <p:sp>
        <p:nvSpPr>
          <p:cNvPr id="45" name="Slide Number Placeholder 44">
            <a:extLst>
              <a:ext uri="{FF2B5EF4-FFF2-40B4-BE49-F238E27FC236}">
                <a16:creationId xmlns:a16="http://schemas.microsoft.com/office/drawing/2014/main" id="{5FC40AF2-C28B-4A5D-A30E-577F09F5FABF}"/>
              </a:ext>
            </a:extLst>
          </p:cNvPr>
          <p:cNvSpPr>
            <a:spLocks noGrp="1"/>
          </p:cNvSpPr>
          <p:nvPr>
            <p:ph type="sldNum" sz="quarter" idx="12"/>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23940993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SCLAIMER | Confidential Information">
    <p:spTree>
      <p:nvGrpSpPr>
        <p:cNvPr id="1" name=""/>
        <p:cNvGrpSpPr/>
        <p:nvPr/>
      </p:nvGrpSpPr>
      <p:grpSpPr>
        <a:xfrm>
          <a:off x="0" y="0"/>
          <a:ext cx="0" cy="0"/>
          <a:chOff x="0" y="0"/>
          <a:chExt cx="0" cy="0"/>
        </a:xfrm>
      </p:grpSpPr>
      <p:sp>
        <p:nvSpPr>
          <p:cNvPr id="2" name="Forma Livre: Forma 61">
            <a:extLst>
              <a:ext uri="{FF2B5EF4-FFF2-40B4-BE49-F238E27FC236}">
                <a16:creationId xmlns:a16="http://schemas.microsoft.com/office/drawing/2014/main" id="{B05D43A0-C589-18C9-821C-60267F476DF6}"/>
              </a:ext>
            </a:extLst>
          </p:cNvPr>
          <p:cNvSpPr/>
          <p:nvPr userDrawn="1"/>
        </p:nvSpPr>
        <p:spPr>
          <a:xfrm flipH="1">
            <a:off x="11827565" y="234253"/>
            <a:ext cx="160907" cy="160883"/>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149E9"/>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sz="675" dirty="0">
              <a:latin typeface="+mn-lt"/>
            </a:endParaRPr>
          </a:p>
        </p:txBody>
      </p:sp>
      <p:grpSp>
        <p:nvGrpSpPr>
          <p:cNvPr id="42" name="Agrupar 1">
            <a:extLst>
              <a:ext uri="{FF2B5EF4-FFF2-40B4-BE49-F238E27FC236}">
                <a16:creationId xmlns:a16="http://schemas.microsoft.com/office/drawing/2014/main" id="{9494343F-8071-8098-0887-7D3607256A56}"/>
              </a:ext>
            </a:extLst>
          </p:cNvPr>
          <p:cNvGrpSpPr/>
          <p:nvPr userDrawn="1"/>
        </p:nvGrpSpPr>
        <p:grpSpPr>
          <a:xfrm>
            <a:off x="4761280" y="2746076"/>
            <a:ext cx="4984193" cy="1365848"/>
            <a:chOff x="3376567" y="1909441"/>
            <a:chExt cx="4984193" cy="1365848"/>
          </a:xfrm>
        </p:grpSpPr>
        <p:sp>
          <p:nvSpPr>
            <p:cNvPr id="43" name="maps graphic">
              <a:extLst>
                <a:ext uri="{FF2B5EF4-FFF2-40B4-BE49-F238E27FC236}">
                  <a16:creationId xmlns:a16="http://schemas.microsoft.com/office/drawing/2014/main" id="{7F874CC9-D7ED-283A-7202-3196DCF3803A}"/>
                </a:ext>
              </a:extLst>
            </p:cNvPr>
            <p:cNvSpPr txBox="1"/>
            <p:nvPr/>
          </p:nvSpPr>
          <p:spPr>
            <a:xfrm>
              <a:off x="3376567" y="1909441"/>
              <a:ext cx="4157185" cy="298864"/>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val="1"/>
              </a:ext>
            </a:extLst>
          </p:spPr>
          <p:txBody>
            <a:bodyPr wrap="square" lIns="19050" tIns="19050" rIns="19050" bIns="19050">
              <a:spAutoFit/>
            </a:bodyPr>
            <a:lstStyle/>
            <a:p>
              <a:pPr>
                <a:defRPr sz="5000" b="1" cap="all">
                  <a:latin typeface="Arial Narrow"/>
                  <a:ea typeface="Arial Narrow"/>
                  <a:cs typeface="Arial Narrow"/>
                  <a:sym typeface="Arial Narrow"/>
                </a:defRPr>
              </a:pPr>
              <a:r>
                <a:rPr lang="pt-PT" sz="1880" b="1" cap="all">
                  <a:solidFill>
                    <a:srgbClr val="001436"/>
                  </a:solidFill>
                  <a:sym typeface="Arial Narrow"/>
                </a:rPr>
                <a:t>Disclaimer</a:t>
              </a:r>
              <a:endParaRPr lang="pt-PT" sz="1880" dirty="0">
                <a:solidFill>
                  <a:srgbClr val="001436"/>
                </a:solidFill>
              </a:endParaRPr>
            </a:p>
          </p:txBody>
        </p:sp>
        <p:sp>
          <p:nvSpPr>
            <p:cNvPr id="44"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AD074777-02AA-BC8F-7DDD-2CB399EA4205}"/>
                </a:ext>
              </a:extLst>
            </p:cNvPr>
            <p:cNvSpPr txBox="1"/>
            <p:nvPr/>
          </p:nvSpPr>
          <p:spPr>
            <a:xfrm>
              <a:off x="3376568" y="2330479"/>
              <a:ext cx="4984192" cy="944810"/>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val="1"/>
              </a:ext>
            </a:extLst>
          </p:spPr>
          <p:txBody>
            <a:bodyPr wrap="square" lIns="19050" tIns="19050" rIns="19050" bIns="19050">
              <a:spAutoFit/>
            </a:bodyPr>
            <a:lstStyle>
              <a:lvl1pPr>
                <a:lnSpc>
                  <a:spcPct val="120000"/>
                </a:lnSpc>
                <a:defRPr sz="2500">
                  <a:solidFill>
                    <a:srgbClr val="808080"/>
                  </a:solidFill>
                  <a:latin typeface="Arial"/>
                  <a:ea typeface="Arial"/>
                  <a:cs typeface="Arial"/>
                  <a:sym typeface="Arial"/>
                </a:defRPr>
              </a:lvl1pPr>
            </a:lstStyle>
            <a:p>
              <a:r>
                <a:rPr lang="pt-BR" sz="1000" b="1" dirty="0">
                  <a:solidFill>
                    <a:srgbClr val="F48232"/>
                  </a:solidFill>
                </a:rPr>
                <a:t>CONFIDENTIAL INFORMATION: </a:t>
              </a:r>
              <a:r>
                <a:rPr lang="en-US" sz="1000" dirty="0"/>
                <a:t>This presentation contains sensitive information, </a:t>
              </a:r>
              <a:br>
                <a:rPr lang="en-US" sz="1000" dirty="0"/>
              </a:br>
              <a:r>
                <a:rPr lang="en-US" sz="1000" dirty="0"/>
                <a:t>so it must be limited to the employees directly involved (Embraer, third parties, partners, customers, etc.) and must not be disclosed in its partial or total form in any format to unauthorized persons. Screenshots or photos of this material are not allowed. If needed, a copy of this content must be requested to the responsible person in Embraer.</a:t>
              </a:r>
              <a:endParaRPr lang="pt-BR" sz="1000" dirty="0"/>
            </a:p>
          </p:txBody>
        </p:sp>
      </p:grpSp>
      <p:sp>
        <p:nvSpPr>
          <p:cNvPr id="45" name="Linha">
            <a:extLst>
              <a:ext uri="{FF2B5EF4-FFF2-40B4-BE49-F238E27FC236}">
                <a16:creationId xmlns:a16="http://schemas.microsoft.com/office/drawing/2014/main" id="{51988AA4-9AE3-CAE4-68EC-134BA0203A8B}"/>
              </a:ext>
            </a:extLst>
          </p:cNvPr>
          <p:cNvSpPr/>
          <p:nvPr userDrawn="1"/>
        </p:nvSpPr>
        <p:spPr>
          <a:xfrm flipV="1">
            <a:off x="3995500" y="2582398"/>
            <a:ext cx="585866" cy="1693204"/>
          </a:xfrm>
          <a:prstGeom prst="line">
            <a:avLst/>
          </a:prstGeom>
          <a:ln w="12700">
            <a:solidFill>
              <a:srgbClr val="CCD5D9"/>
            </a:solidFill>
            <a:miter lim="400000"/>
          </a:ln>
        </p:spPr>
        <p:txBody>
          <a:bodyPr lIns="19050" tIns="19050" rIns="19050" bIns="19050" anchor="ctr"/>
          <a:lstStyle/>
          <a:p>
            <a:endParaRPr sz="675"/>
          </a:p>
        </p:txBody>
      </p:sp>
      <p:pic>
        <p:nvPicPr>
          <p:cNvPr id="46" name="Picture 45">
            <a:extLst>
              <a:ext uri="{FF2B5EF4-FFF2-40B4-BE49-F238E27FC236}">
                <a16:creationId xmlns:a16="http://schemas.microsoft.com/office/drawing/2014/main" id="{27758795-68EF-3F46-1454-440C31EF7E3B}"/>
              </a:ext>
            </a:extLst>
          </p:cNvPr>
          <p:cNvPicPr>
            <a:picLocks noChangeAspect="1"/>
          </p:cNvPicPr>
          <p:nvPr userDrawn="1"/>
        </p:nvPicPr>
        <p:blipFill>
          <a:blip r:embed="rId3"/>
          <a:stretch>
            <a:fillRect/>
          </a:stretch>
        </p:blipFill>
        <p:spPr>
          <a:xfrm>
            <a:off x="2814563" y="2854719"/>
            <a:ext cx="1143000" cy="1143000"/>
          </a:xfrm>
          <a:prstGeom prst="rect">
            <a:avLst/>
          </a:prstGeom>
        </p:spPr>
      </p:pic>
      <p:grpSp>
        <p:nvGrpSpPr>
          <p:cNvPr id="47" name="Agrupar 16">
            <a:extLst>
              <a:ext uri="{FF2B5EF4-FFF2-40B4-BE49-F238E27FC236}">
                <a16:creationId xmlns:a16="http://schemas.microsoft.com/office/drawing/2014/main" id="{1C730FC0-B87C-97CC-9FBF-481C7D1724F5}"/>
              </a:ext>
            </a:extLst>
          </p:cNvPr>
          <p:cNvGrpSpPr/>
          <p:nvPr userDrawn="1"/>
        </p:nvGrpSpPr>
        <p:grpSpPr>
          <a:xfrm>
            <a:off x="6149780" y="2743738"/>
            <a:ext cx="880256" cy="279617"/>
            <a:chOff x="4376585" y="1919432"/>
            <a:chExt cx="880256" cy="279617"/>
          </a:xfrm>
        </p:grpSpPr>
        <p:grpSp>
          <p:nvGrpSpPr>
            <p:cNvPr id="48" name="Agrupar 17">
              <a:extLst>
                <a:ext uri="{FF2B5EF4-FFF2-40B4-BE49-F238E27FC236}">
                  <a16:creationId xmlns:a16="http://schemas.microsoft.com/office/drawing/2014/main" id="{D915CCA4-3A8C-9F8B-3DFA-FA8D201B162F}"/>
                </a:ext>
              </a:extLst>
            </p:cNvPr>
            <p:cNvGrpSpPr/>
            <p:nvPr/>
          </p:nvGrpSpPr>
          <p:grpSpPr>
            <a:xfrm>
              <a:off x="4376585" y="1953658"/>
              <a:ext cx="137835" cy="186498"/>
              <a:chOff x="2968804" y="3444018"/>
              <a:chExt cx="137835" cy="186498"/>
            </a:xfrm>
          </p:grpSpPr>
          <p:sp>
            <p:nvSpPr>
              <p:cNvPr id="70" name="Forma Livre 40">
                <a:extLst>
                  <a:ext uri="{FF2B5EF4-FFF2-40B4-BE49-F238E27FC236}">
                    <a16:creationId xmlns:a16="http://schemas.microsoft.com/office/drawing/2014/main" id="{BD02093D-764A-F4CA-47B4-B26DE05EDFA4}"/>
                  </a:ext>
                </a:extLst>
              </p:cNvPr>
              <p:cNvSpPr/>
              <p:nvPr/>
            </p:nvSpPr>
            <p:spPr>
              <a:xfrm>
                <a:off x="2976915" y="3452135"/>
                <a:ext cx="85587" cy="170276"/>
              </a:xfrm>
              <a:custGeom>
                <a:avLst/>
                <a:gdLst>
                  <a:gd name="connsiteX0" fmla="*/ 20268 w 85587"/>
                  <a:gd name="connsiteY0" fmla="*/ 129730 h 170276"/>
                  <a:gd name="connsiteX1" fmla="*/ 16216 w 85587"/>
                  <a:gd name="connsiteY1" fmla="*/ 125677 h 170276"/>
                  <a:gd name="connsiteX2" fmla="*/ 20268 w 85587"/>
                  <a:gd name="connsiteY2" fmla="*/ 121624 h 170276"/>
                  <a:gd name="connsiteX3" fmla="*/ 37745 w 85587"/>
                  <a:gd name="connsiteY3" fmla="*/ 121624 h 170276"/>
                  <a:gd name="connsiteX4" fmla="*/ 44123 w 85587"/>
                  <a:gd name="connsiteY4" fmla="*/ 105406 h 170276"/>
                  <a:gd name="connsiteX5" fmla="*/ 20268 w 85587"/>
                  <a:gd name="connsiteY5" fmla="*/ 105406 h 170276"/>
                  <a:gd name="connsiteX6" fmla="*/ 16216 w 85587"/>
                  <a:gd name="connsiteY6" fmla="*/ 101353 h 170276"/>
                  <a:gd name="connsiteX7" fmla="*/ 20268 w 85587"/>
                  <a:gd name="connsiteY7" fmla="*/ 97300 h 170276"/>
                  <a:gd name="connsiteX8" fmla="*/ 47313 w 85587"/>
                  <a:gd name="connsiteY8" fmla="*/ 97300 h 170276"/>
                  <a:gd name="connsiteX9" fmla="*/ 53691 w 85587"/>
                  <a:gd name="connsiteY9" fmla="*/ 81082 h 170276"/>
                  <a:gd name="connsiteX10" fmla="*/ 20264 w 85587"/>
                  <a:gd name="connsiteY10" fmla="*/ 81082 h 170276"/>
                  <a:gd name="connsiteX11" fmla="*/ 16211 w 85587"/>
                  <a:gd name="connsiteY11" fmla="*/ 77029 h 170276"/>
                  <a:gd name="connsiteX12" fmla="*/ 20264 w 85587"/>
                  <a:gd name="connsiteY12" fmla="*/ 72976 h 170276"/>
                  <a:gd name="connsiteX13" fmla="*/ 56880 w 85587"/>
                  <a:gd name="connsiteY13" fmla="*/ 72976 h 170276"/>
                  <a:gd name="connsiteX14" fmla="*/ 85588 w 85587"/>
                  <a:gd name="connsiteY14" fmla="*/ 0 h 170276"/>
                  <a:gd name="connsiteX15" fmla="*/ 48642 w 85587"/>
                  <a:gd name="connsiteY15" fmla="*/ 0 h 170276"/>
                  <a:gd name="connsiteX16" fmla="*/ 48642 w 85587"/>
                  <a:gd name="connsiteY16" fmla="*/ 44594 h 170276"/>
                  <a:gd name="connsiteX17" fmla="*/ 44590 w 85587"/>
                  <a:gd name="connsiteY17" fmla="*/ 48648 h 170276"/>
                  <a:gd name="connsiteX18" fmla="*/ 20268 w 85587"/>
                  <a:gd name="connsiteY18" fmla="*/ 48648 h 170276"/>
                  <a:gd name="connsiteX19" fmla="*/ 16216 w 85587"/>
                  <a:gd name="connsiteY19" fmla="*/ 44594 h 170276"/>
                  <a:gd name="connsiteX20" fmla="*/ 20268 w 85587"/>
                  <a:gd name="connsiteY20" fmla="*/ 40541 h 170276"/>
                  <a:gd name="connsiteX21" fmla="*/ 40537 w 85587"/>
                  <a:gd name="connsiteY21" fmla="*/ 40541 h 170276"/>
                  <a:gd name="connsiteX22" fmla="*/ 40537 w 85587"/>
                  <a:gd name="connsiteY22" fmla="*/ 5731 h 170276"/>
                  <a:gd name="connsiteX23" fmla="*/ 1187 w 85587"/>
                  <a:gd name="connsiteY23" fmla="*/ 45090 h 170276"/>
                  <a:gd name="connsiteX24" fmla="*/ 0 w 85587"/>
                  <a:gd name="connsiteY24" fmla="*/ 47956 h 170276"/>
                  <a:gd name="connsiteX25" fmla="*/ 0 w 85587"/>
                  <a:gd name="connsiteY25" fmla="*/ 166223 h 170276"/>
                  <a:gd name="connsiteX26" fmla="*/ 4053 w 85587"/>
                  <a:gd name="connsiteY26" fmla="*/ 170276 h 170276"/>
                  <a:gd name="connsiteX27" fmla="*/ 18610 w 85587"/>
                  <a:gd name="connsiteY27" fmla="*/ 170276 h 170276"/>
                  <a:gd name="connsiteX28" fmla="*/ 34556 w 85587"/>
                  <a:gd name="connsiteY28" fmla="*/ 129735 h 170276"/>
                  <a:gd name="connsiteX29" fmla="*/ 20268 w 85587"/>
                  <a:gd name="connsiteY29" fmla="*/ 129735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5587" h="170276">
                    <a:moveTo>
                      <a:pt x="20268" y="129730"/>
                    </a:moveTo>
                    <a:cubicBezTo>
                      <a:pt x="18031" y="129730"/>
                      <a:pt x="16216" y="127914"/>
                      <a:pt x="16216" y="125677"/>
                    </a:cubicBezTo>
                    <a:cubicBezTo>
                      <a:pt x="16216" y="123439"/>
                      <a:pt x="18031" y="121624"/>
                      <a:pt x="20268" y="121624"/>
                    </a:cubicBezTo>
                    <a:lnTo>
                      <a:pt x="37745" y="121624"/>
                    </a:lnTo>
                    <a:lnTo>
                      <a:pt x="44123" y="105406"/>
                    </a:lnTo>
                    <a:lnTo>
                      <a:pt x="20268" y="105406"/>
                    </a:lnTo>
                    <a:cubicBezTo>
                      <a:pt x="18031" y="105406"/>
                      <a:pt x="16216" y="103591"/>
                      <a:pt x="16216" y="101353"/>
                    </a:cubicBezTo>
                    <a:cubicBezTo>
                      <a:pt x="16216" y="99115"/>
                      <a:pt x="18031" y="97300"/>
                      <a:pt x="20268" y="97300"/>
                    </a:cubicBezTo>
                    <a:lnTo>
                      <a:pt x="47313" y="97300"/>
                    </a:lnTo>
                    <a:lnTo>
                      <a:pt x="53691" y="81082"/>
                    </a:lnTo>
                    <a:lnTo>
                      <a:pt x="20264" y="81082"/>
                    </a:lnTo>
                    <a:cubicBezTo>
                      <a:pt x="18026" y="81082"/>
                      <a:pt x="16211" y="79267"/>
                      <a:pt x="16211" y="77029"/>
                    </a:cubicBezTo>
                    <a:cubicBezTo>
                      <a:pt x="16211" y="74792"/>
                      <a:pt x="18026" y="72976"/>
                      <a:pt x="20264" y="72976"/>
                    </a:cubicBezTo>
                    <a:lnTo>
                      <a:pt x="56880" y="72976"/>
                    </a:lnTo>
                    <a:lnTo>
                      <a:pt x="85588" y="0"/>
                    </a:lnTo>
                    <a:lnTo>
                      <a:pt x="48642" y="0"/>
                    </a:lnTo>
                    <a:lnTo>
                      <a:pt x="48642" y="44594"/>
                    </a:lnTo>
                    <a:cubicBezTo>
                      <a:pt x="48642" y="46832"/>
                      <a:pt x="46827" y="48648"/>
                      <a:pt x="44590" y="48648"/>
                    </a:cubicBezTo>
                    <a:lnTo>
                      <a:pt x="20268" y="48648"/>
                    </a:lnTo>
                    <a:cubicBezTo>
                      <a:pt x="18031" y="48648"/>
                      <a:pt x="16216" y="46832"/>
                      <a:pt x="16216" y="44594"/>
                    </a:cubicBezTo>
                    <a:cubicBezTo>
                      <a:pt x="16216" y="42357"/>
                      <a:pt x="18031" y="40541"/>
                      <a:pt x="20268" y="40541"/>
                    </a:cubicBezTo>
                    <a:lnTo>
                      <a:pt x="40537" y="40541"/>
                    </a:lnTo>
                    <a:lnTo>
                      <a:pt x="40537" y="5731"/>
                    </a:lnTo>
                    <a:lnTo>
                      <a:pt x="1187" y="45090"/>
                    </a:lnTo>
                    <a:cubicBezTo>
                      <a:pt x="422" y="45855"/>
                      <a:pt x="0" y="46871"/>
                      <a:pt x="0" y="47956"/>
                    </a:cubicBezTo>
                    <a:lnTo>
                      <a:pt x="0" y="166223"/>
                    </a:lnTo>
                    <a:cubicBezTo>
                      <a:pt x="0" y="168461"/>
                      <a:pt x="1820" y="170276"/>
                      <a:pt x="4053" y="170276"/>
                    </a:cubicBezTo>
                    <a:lnTo>
                      <a:pt x="18610" y="170276"/>
                    </a:lnTo>
                    <a:lnTo>
                      <a:pt x="34556" y="129735"/>
                    </a:lnTo>
                    <a:lnTo>
                      <a:pt x="20268" y="129735"/>
                    </a:lnTo>
                    <a:close/>
                  </a:path>
                </a:pathLst>
              </a:custGeom>
              <a:noFill/>
              <a:ln w="490" cap="flat">
                <a:noFill/>
                <a:prstDash val="solid"/>
                <a:miter/>
              </a:ln>
            </p:spPr>
            <p:txBody>
              <a:bodyPr rtlCol="0" anchor="ctr"/>
              <a:lstStyle/>
              <a:p>
                <a:endParaRPr/>
              </a:p>
            </p:txBody>
          </p:sp>
          <p:sp>
            <p:nvSpPr>
              <p:cNvPr id="71" name="Forma Livre 41">
                <a:extLst>
                  <a:ext uri="{FF2B5EF4-FFF2-40B4-BE49-F238E27FC236}">
                    <a16:creationId xmlns:a16="http://schemas.microsoft.com/office/drawing/2014/main" id="{BDE7315E-D259-BF08-936E-74926A2BACB8}"/>
                  </a:ext>
                </a:extLst>
              </p:cNvPr>
              <p:cNvSpPr/>
              <p:nvPr/>
            </p:nvSpPr>
            <p:spPr>
              <a:xfrm>
                <a:off x="3022412" y="3452125"/>
                <a:ext cx="76113" cy="170276"/>
              </a:xfrm>
              <a:custGeom>
                <a:avLst/>
                <a:gdLst>
                  <a:gd name="connsiteX0" fmla="*/ 39629 w 76113"/>
                  <a:gd name="connsiteY0" fmla="*/ 72981 h 170276"/>
                  <a:gd name="connsiteX1" fmla="*/ 43682 w 76113"/>
                  <a:gd name="connsiteY1" fmla="*/ 77034 h 170276"/>
                  <a:gd name="connsiteX2" fmla="*/ 39629 w 76113"/>
                  <a:gd name="connsiteY2" fmla="*/ 81087 h 170276"/>
                  <a:gd name="connsiteX3" fmla="*/ 35047 w 76113"/>
                  <a:gd name="connsiteY3" fmla="*/ 81087 h 170276"/>
                  <a:gd name="connsiteX4" fmla="*/ 28673 w 76113"/>
                  <a:gd name="connsiteY4" fmla="*/ 97305 h 170276"/>
                  <a:gd name="connsiteX5" fmla="*/ 55845 w 76113"/>
                  <a:gd name="connsiteY5" fmla="*/ 97305 h 170276"/>
                  <a:gd name="connsiteX6" fmla="*/ 59898 w 76113"/>
                  <a:gd name="connsiteY6" fmla="*/ 101358 h 170276"/>
                  <a:gd name="connsiteX7" fmla="*/ 55845 w 76113"/>
                  <a:gd name="connsiteY7" fmla="*/ 105411 h 170276"/>
                  <a:gd name="connsiteX8" fmla="*/ 25489 w 76113"/>
                  <a:gd name="connsiteY8" fmla="*/ 105411 h 170276"/>
                  <a:gd name="connsiteX9" fmla="*/ 19115 w 76113"/>
                  <a:gd name="connsiteY9" fmla="*/ 121629 h 170276"/>
                  <a:gd name="connsiteX10" fmla="*/ 55845 w 76113"/>
                  <a:gd name="connsiteY10" fmla="*/ 121629 h 170276"/>
                  <a:gd name="connsiteX11" fmla="*/ 59898 w 76113"/>
                  <a:gd name="connsiteY11" fmla="*/ 125682 h 170276"/>
                  <a:gd name="connsiteX12" fmla="*/ 55845 w 76113"/>
                  <a:gd name="connsiteY12" fmla="*/ 129735 h 170276"/>
                  <a:gd name="connsiteX13" fmla="*/ 15931 w 76113"/>
                  <a:gd name="connsiteY13" fmla="*/ 129735 h 170276"/>
                  <a:gd name="connsiteX14" fmla="*/ 9558 w 76113"/>
                  <a:gd name="connsiteY14" fmla="*/ 145952 h 170276"/>
                  <a:gd name="connsiteX15" fmla="*/ 55845 w 76113"/>
                  <a:gd name="connsiteY15" fmla="*/ 145952 h 170276"/>
                  <a:gd name="connsiteX16" fmla="*/ 59898 w 76113"/>
                  <a:gd name="connsiteY16" fmla="*/ 150005 h 170276"/>
                  <a:gd name="connsiteX17" fmla="*/ 55845 w 76113"/>
                  <a:gd name="connsiteY17" fmla="*/ 154059 h 170276"/>
                  <a:gd name="connsiteX18" fmla="*/ 6373 w 76113"/>
                  <a:gd name="connsiteY18" fmla="*/ 154059 h 170276"/>
                  <a:gd name="connsiteX19" fmla="*/ 0 w 76113"/>
                  <a:gd name="connsiteY19" fmla="*/ 170276 h 170276"/>
                  <a:gd name="connsiteX20" fmla="*/ 72061 w 76113"/>
                  <a:gd name="connsiteY20" fmla="*/ 170276 h 170276"/>
                  <a:gd name="connsiteX21" fmla="*/ 76113 w 76113"/>
                  <a:gd name="connsiteY21" fmla="*/ 166223 h 170276"/>
                  <a:gd name="connsiteX22" fmla="*/ 76113 w 76113"/>
                  <a:gd name="connsiteY22" fmla="*/ 4053 h 170276"/>
                  <a:gd name="connsiteX23" fmla="*/ 72061 w 76113"/>
                  <a:gd name="connsiteY23" fmla="*/ 0 h 170276"/>
                  <a:gd name="connsiteX24" fmla="*/ 66914 w 76113"/>
                  <a:gd name="connsiteY24" fmla="*/ 0 h 170276"/>
                  <a:gd name="connsiteX25" fmla="*/ 38236 w 76113"/>
                  <a:gd name="connsiteY25" fmla="*/ 72976 h 170276"/>
                  <a:gd name="connsiteX26" fmla="*/ 39629 w 76113"/>
                  <a:gd name="connsiteY26" fmla="*/ 72976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113" h="170276">
                    <a:moveTo>
                      <a:pt x="39629" y="72981"/>
                    </a:moveTo>
                    <a:cubicBezTo>
                      <a:pt x="41867" y="72981"/>
                      <a:pt x="43682" y="74797"/>
                      <a:pt x="43682" y="77034"/>
                    </a:cubicBezTo>
                    <a:cubicBezTo>
                      <a:pt x="43682" y="79272"/>
                      <a:pt x="41867" y="81087"/>
                      <a:pt x="39629" y="81087"/>
                    </a:cubicBezTo>
                    <a:lnTo>
                      <a:pt x="35047" y="81087"/>
                    </a:lnTo>
                    <a:lnTo>
                      <a:pt x="28673" y="97305"/>
                    </a:lnTo>
                    <a:lnTo>
                      <a:pt x="55845" y="97305"/>
                    </a:lnTo>
                    <a:cubicBezTo>
                      <a:pt x="58082" y="97305"/>
                      <a:pt x="59898" y="99120"/>
                      <a:pt x="59898" y="101358"/>
                    </a:cubicBezTo>
                    <a:cubicBezTo>
                      <a:pt x="59898" y="103596"/>
                      <a:pt x="58082" y="105411"/>
                      <a:pt x="55845" y="105411"/>
                    </a:cubicBezTo>
                    <a:lnTo>
                      <a:pt x="25489" y="105411"/>
                    </a:lnTo>
                    <a:lnTo>
                      <a:pt x="19115" y="121629"/>
                    </a:lnTo>
                    <a:lnTo>
                      <a:pt x="55845" y="121629"/>
                    </a:lnTo>
                    <a:cubicBezTo>
                      <a:pt x="58082" y="121629"/>
                      <a:pt x="59898" y="123444"/>
                      <a:pt x="59898" y="125682"/>
                    </a:cubicBezTo>
                    <a:cubicBezTo>
                      <a:pt x="59898" y="127919"/>
                      <a:pt x="58082" y="129735"/>
                      <a:pt x="55845" y="129735"/>
                    </a:cubicBezTo>
                    <a:lnTo>
                      <a:pt x="15931" y="129735"/>
                    </a:lnTo>
                    <a:lnTo>
                      <a:pt x="9558" y="145952"/>
                    </a:lnTo>
                    <a:lnTo>
                      <a:pt x="55845" y="145952"/>
                    </a:lnTo>
                    <a:cubicBezTo>
                      <a:pt x="58082" y="145952"/>
                      <a:pt x="59898" y="147768"/>
                      <a:pt x="59898" y="150005"/>
                    </a:cubicBezTo>
                    <a:cubicBezTo>
                      <a:pt x="59898" y="152243"/>
                      <a:pt x="58082" y="154059"/>
                      <a:pt x="55845" y="154059"/>
                    </a:cubicBezTo>
                    <a:lnTo>
                      <a:pt x="6373" y="154059"/>
                    </a:lnTo>
                    <a:lnTo>
                      <a:pt x="0" y="170276"/>
                    </a:lnTo>
                    <a:lnTo>
                      <a:pt x="72061" y="170276"/>
                    </a:lnTo>
                    <a:cubicBezTo>
                      <a:pt x="74298" y="170276"/>
                      <a:pt x="76113" y="168456"/>
                      <a:pt x="76113" y="166223"/>
                    </a:cubicBezTo>
                    <a:lnTo>
                      <a:pt x="76113" y="4053"/>
                    </a:lnTo>
                    <a:cubicBezTo>
                      <a:pt x="76113" y="1816"/>
                      <a:pt x="74293" y="0"/>
                      <a:pt x="72061" y="0"/>
                    </a:cubicBezTo>
                    <a:lnTo>
                      <a:pt x="66914" y="0"/>
                    </a:lnTo>
                    <a:lnTo>
                      <a:pt x="38236" y="72976"/>
                    </a:lnTo>
                    <a:lnTo>
                      <a:pt x="39629" y="72976"/>
                    </a:lnTo>
                    <a:close/>
                  </a:path>
                </a:pathLst>
              </a:custGeom>
              <a:noFill/>
              <a:ln w="490" cap="flat">
                <a:noFill/>
                <a:prstDash val="solid"/>
                <a:miter/>
              </a:ln>
            </p:spPr>
            <p:txBody>
              <a:bodyPr rtlCol="0" anchor="ctr"/>
              <a:lstStyle/>
              <a:p>
                <a:endParaRPr/>
              </a:p>
            </p:txBody>
          </p:sp>
          <p:sp>
            <p:nvSpPr>
              <p:cNvPr id="72" name="Forma Livre 42">
                <a:extLst>
                  <a:ext uri="{FF2B5EF4-FFF2-40B4-BE49-F238E27FC236}">
                    <a16:creationId xmlns:a16="http://schemas.microsoft.com/office/drawing/2014/main" id="{E40052F8-792A-5A3B-0DB9-FDE5846DB84A}"/>
                  </a:ext>
                </a:extLst>
              </p:cNvPr>
              <p:cNvSpPr/>
              <p:nvPr/>
            </p:nvSpPr>
            <p:spPr>
              <a:xfrm>
                <a:off x="2968804" y="3444023"/>
                <a:ext cx="96887" cy="186493"/>
              </a:xfrm>
              <a:custGeom>
                <a:avLst/>
                <a:gdLst>
                  <a:gd name="connsiteX0" fmla="*/ 12163 w 96887"/>
                  <a:gd name="connsiteY0" fmla="*/ 178382 h 186493"/>
                  <a:gd name="connsiteX1" fmla="*/ 8110 w 96887"/>
                  <a:gd name="connsiteY1" fmla="*/ 174329 h 186493"/>
                  <a:gd name="connsiteX2" fmla="*/ 8110 w 96887"/>
                  <a:gd name="connsiteY2" fmla="*/ 56062 h 186493"/>
                  <a:gd name="connsiteX3" fmla="*/ 9298 w 96887"/>
                  <a:gd name="connsiteY3" fmla="*/ 53196 h 186493"/>
                  <a:gd name="connsiteX4" fmla="*/ 48647 w 96887"/>
                  <a:gd name="connsiteY4" fmla="*/ 13838 h 186493"/>
                  <a:gd name="connsiteX5" fmla="*/ 48647 w 96887"/>
                  <a:gd name="connsiteY5" fmla="*/ 48647 h 186493"/>
                  <a:gd name="connsiteX6" fmla="*/ 28379 w 96887"/>
                  <a:gd name="connsiteY6" fmla="*/ 48647 h 186493"/>
                  <a:gd name="connsiteX7" fmla="*/ 24326 w 96887"/>
                  <a:gd name="connsiteY7" fmla="*/ 52701 h 186493"/>
                  <a:gd name="connsiteX8" fmla="*/ 28379 w 96887"/>
                  <a:gd name="connsiteY8" fmla="*/ 56754 h 186493"/>
                  <a:gd name="connsiteX9" fmla="*/ 52700 w 96887"/>
                  <a:gd name="connsiteY9" fmla="*/ 56754 h 186493"/>
                  <a:gd name="connsiteX10" fmla="*/ 56753 w 96887"/>
                  <a:gd name="connsiteY10" fmla="*/ 52701 h 186493"/>
                  <a:gd name="connsiteX11" fmla="*/ 56753 w 96887"/>
                  <a:gd name="connsiteY11" fmla="*/ 8106 h 186493"/>
                  <a:gd name="connsiteX12" fmla="*/ 93698 w 96887"/>
                  <a:gd name="connsiteY12" fmla="*/ 8106 h 186493"/>
                  <a:gd name="connsiteX13" fmla="*/ 96887 w 96887"/>
                  <a:gd name="connsiteY13" fmla="*/ 0 h 186493"/>
                  <a:gd name="connsiteX14" fmla="*/ 56061 w 96887"/>
                  <a:gd name="connsiteY14" fmla="*/ 0 h 186493"/>
                  <a:gd name="connsiteX15" fmla="*/ 53897 w 96887"/>
                  <a:gd name="connsiteY15" fmla="*/ 201 h 186493"/>
                  <a:gd name="connsiteX16" fmla="*/ 52700 w 96887"/>
                  <a:gd name="connsiteY16" fmla="*/ 0 h 186493"/>
                  <a:gd name="connsiteX17" fmla="*/ 49128 w 96887"/>
                  <a:gd name="connsiteY17" fmla="*/ 2174 h 186493"/>
                  <a:gd name="connsiteX18" fmla="*/ 47460 w 96887"/>
                  <a:gd name="connsiteY18" fmla="*/ 3558 h 186493"/>
                  <a:gd name="connsiteX19" fmla="*/ 3562 w 96887"/>
                  <a:gd name="connsiteY19" fmla="*/ 47460 h 186493"/>
                  <a:gd name="connsiteX20" fmla="*/ 0 w 96887"/>
                  <a:gd name="connsiteY20" fmla="*/ 56062 h 186493"/>
                  <a:gd name="connsiteX21" fmla="*/ 0 w 96887"/>
                  <a:gd name="connsiteY21" fmla="*/ 174329 h 186493"/>
                  <a:gd name="connsiteX22" fmla="*/ 12163 w 96887"/>
                  <a:gd name="connsiteY22" fmla="*/ 186493 h 186493"/>
                  <a:gd name="connsiteX23" fmla="*/ 23531 w 96887"/>
                  <a:gd name="connsiteY23" fmla="*/ 186493 h 186493"/>
                  <a:gd name="connsiteX24" fmla="*/ 26720 w 96887"/>
                  <a:gd name="connsiteY24" fmla="*/ 178387 h 186493"/>
                  <a:gd name="connsiteX25" fmla="*/ 12163 w 96887"/>
                  <a:gd name="connsiteY25" fmla="*/ 178387 h 18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6887" h="186493">
                    <a:moveTo>
                      <a:pt x="12163" y="178382"/>
                    </a:moveTo>
                    <a:cubicBezTo>
                      <a:pt x="9926" y="178382"/>
                      <a:pt x="8110" y="176562"/>
                      <a:pt x="8110" y="174329"/>
                    </a:cubicBezTo>
                    <a:lnTo>
                      <a:pt x="8110" y="56062"/>
                    </a:lnTo>
                    <a:cubicBezTo>
                      <a:pt x="8110" y="54977"/>
                      <a:pt x="8532" y="53962"/>
                      <a:pt x="9298" y="53196"/>
                    </a:cubicBezTo>
                    <a:lnTo>
                      <a:pt x="48647" y="13838"/>
                    </a:lnTo>
                    <a:lnTo>
                      <a:pt x="48647" y="48647"/>
                    </a:lnTo>
                    <a:lnTo>
                      <a:pt x="28379" y="48647"/>
                    </a:lnTo>
                    <a:cubicBezTo>
                      <a:pt x="26141" y="48647"/>
                      <a:pt x="24326" y="50463"/>
                      <a:pt x="24326" y="52701"/>
                    </a:cubicBezTo>
                    <a:cubicBezTo>
                      <a:pt x="24326" y="54938"/>
                      <a:pt x="26141" y="56754"/>
                      <a:pt x="28379" y="56754"/>
                    </a:cubicBezTo>
                    <a:lnTo>
                      <a:pt x="52700" y="56754"/>
                    </a:lnTo>
                    <a:cubicBezTo>
                      <a:pt x="54937" y="56754"/>
                      <a:pt x="56753" y="54938"/>
                      <a:pt x="56753" y="52701"/>
                    </a:cubicBezTo>
                    <a:lnTo>
                      <a:pt x="56753" y="8106"/>
                    </a:lnTo>
                    <a:lnTo>
                      <a:pt x="93698" y="8106"/>
                    </a:lnTo>
                    <a:lnTo>
                      <a:pt x="96887" y="0"/>
                    </a:lnTo>
                    <a:lnTo>
                      <a:pt x="56061" y="0"/>
                    </a:lnTo>
                    <a:cubicBezTo>
                      <a:pt x="55330" y="0"/>
                      <a:pt x="54604" y="74"/>
                      <a:pt x="53897" y="201"/>
                    </a:cubicBezTo>
                    <a:cubicBezTo>
                      <a:pt x="53514" y="83"/>
                      <a:pt x="53122" y="0"/>
                      <a:pt x="52700" y="0"/>
                    </a:cubicBezTo>
                    <a:cubicBezTo>
                      <a:pt x="51145" y="0"/>
                      <a:pt x="49805" y="888"/>
                      <a:pt x="49128" y="2174"/>
                    </a:cubicBezTo>
                    <a:cubicBezTo>
                      <a:pt x="48539" y="2586"/>
                      <a:pt x="47980" y="3042"/>
                      <a:pt x="47460" y="3558"/>
                    </a:cubicBezTo>
                    <a:lnTo>
                      <a:pt x="3562" y="47460"/>
                    </a:lnTo>
                    <a:cubicBezTo>
                      <a:pt x="1266" y="49756"/>
                      <a:pt x="0" y="52809"/>
                      <a:pt x="0" y="56062"/>
                    </a:cubicBezTo>
                    <a:lnTo>
                      <a:pt x="0" y="174329"/>
                    </a:lnTo>
                    <a:cubicBezTo>
                      <a:pt x="0" y="181037"/>
                      <a:pt x="5456" y="186493"/>
                      <a:pt x="12163" y="186493"/>
                    </a:cubicBezTo>
                    <a:lnTo>
                      <a:pt x="23531" y="186493"/>
                    </a:lnTo>
                    <a:lnTo>
                      <a:pt x="26720" y="178387"/>
                    </a:lnTo>
                    <a:lnTo>
                      <a:pt x="12163" y="178387"/>
                    </a:lnTo>
                    <a:close/>
                  </a:path>
                </a:pathLst>
              </a:custGeom>
              <a:solidFill>
                <a:srgbClr val="001638"/>
              </a:solidFill>
              <a:ln w="9525" cap="flat">
                <a:solidFill>
                  <a:srgbClr val="001638"/>
                </a:solidFill>
                <a:prstDash val="solid"/>
                <a:miter/>
              </a:ln>
            </p:spPr>
            <p:txBody>
              <a:bodyPr rtlCol="0" anchor="ctr"/>
              <a:lstStyle/>
              <a:p>
                <a:endParaRPr/>
              </a:p>
            </p:txBody>
          </p:sp>
          <p:sp>
            <p:nvSpPr>
              <p:cNvPr id="73" name="Forma Livre 43">
                <a:extLst>
                  <a:ext uri="{FF2B5EF4-FFF2-40B4-BE49-F238E27FC236}">
                    <a16:creationId xmlns:a16="http://schemas.microsoft.com/office/drawing/2014/main" id="{7510546C-4380-C266-D577-8C59CB93F420}"/>
                  </a:ext>
                </a:extLst>
              </p:cNvPr>
              <p:cNvSpPr/>
              <p:nvPr/>
            </p:nvSpPr>
            <p:spPr>
              <a:xfrm>
                <a:off x="3019227" y="3444018"/>
                <a:ext cx="87412" cy="186488"/>
              </a:xfrm>
              <a:custGeom>
                <a:avLst/>
                <a:gdLst>
                  <a:gd name="connsiteX0" fmla="*/ 75245 w 87412"/>
                  <a:gd name="connsiteY0" fmla="*/ 0 h 186488"/>
                  <a:gd name="connsiteX1" fmla="*/ 73282 w 87412"/>
                  <a:gd name="connsiteY1" fmla="*/ 0 h 186488"/>
                  <a:gd name="connsiteX2" fmla="*/ 70098 w 87412"/>
                  <a:gd name="connsiteY2" fmla="*/ 8106 h 186488"/>
                  <a:gd name="connsiteX3" fmla="*/ 75245 w 87412"/>
                  <a:gd name="connsiteY3" fmla="*/ 8106 h 186488"/>
                  <a:gd name="connsiteX4" fmla="*/ 79298 w 87412"/>
                  <a:gd name="connsiteY4" fmla="*/ 12159 h 186488"/>
                  <a:gd name="connsiteX5" fmla="*/ 79298 w 87412"/>
                  <a:gd name="connsiteY5" fmla="*/ 174329 h 186488"/>
                  <a:gd name="connsiteX6" fmla="*/ 75245 w 87412"/>
                  <a:gd name="connsiteY6" fmla="*/ 178382 h 186488"/>
                  <a:gd name="connsiteX7" fmla="*/ 3184 w 87412"/>
                  <a:gd name="connsiteY7" fmla="*/ 178382 h 186488"/>
                  <a:gd name="connsiteX8" fmla="*/ 0 w 87412"/>
                  <a:gd name="connsiteY8" fmla="*/ 186489 h 186488"/>
                  <a:gd name="connsiteX9" fmla="*/ 75250 w 87412"/>
                  <a:gd name="connsiteY9" fmla="*/ 186489 h 186488"/>
                  <a:gd name="connsiteX10" fmla="*/ 87413 w 87412"/>
                  <a:gd name="connsiteY10" fmla="*/ 174324 h 186488"/>
                  <a:gd name="connsiteX11" fmla="*/ 87413 w 87412"/>
                  <a:gd name="connsiteY11" fmla="*/ 12154 h 186488"/>
                  <a:gd name="connsiteX12" fmla="*/ 75245 w 87412"/>
                  <a:gd name="connsiteY12" fmla="*/ 0 h 18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412" h="186488">
                    <a:moveTo>
                      <a:pt x="75245" y="0"/>
                    </a:moveTo>
                    <a:lnTo>
                      <a:pt x="73282" y="0"/>
                    </a:lnTo>
                    <a:lnTo>
                      <a:pt x="70098" y="8106"/>
                    </a:lnTo>
                    <a:lnTo>
                      <a:pt x="75245" y="8106"/>
                    </a:lnTo>
                    <a:cubicBezTo>
                      <a:pt x="77482" y="8106"/>
                      <a:pt x="79298" y="9927"/>
                      <a:pt x="79298" y="12159"/>
                    </a:cubicBezTo>
                    <a:lnTo>
                      <a:pt x="79298" y="174329"/>
                    </a:lnTo>
                    <a:cubicBezTo>
                      <a:pt x="79298" y="176567"/>
                      <a:pt x="77477" y="178382"/>
                      <a:pt x="75245" y="178382"/>
                    </a:cubicBezTo>
                    <a:lnTo>
                      <a:pt x="3184" y="178382"/>
                    </a:lnTo>
                    <a:lnTo>
                      <a:pt x="0" y="186489"/>
                    </a:lnTo>
                    <a:lnTo>
                      <a:pt x="75250" y="186489"/>
                    </a:lnTo>
                    <a:cubicBezTo>
                      <a:pt x="81957" y="186489"/>
                      <a:pt x="87413" y="181032"/>
                      <a:pt x="87413" y="174324"/>
                    </a:cubicBezTo>
                    <a:lnTo>
                      <a:pt x="87413" y="12154"/>
                    </a:lnTo>
                    <a:cubicBezTo>
                      <a:pt x="87408" y="5457"/>
                      <a:pt x="81952" y="0"/>
                      <a:pt x="75245" y="0"/>
                    </a:cubicBezTo>
                    <a:close/>
                  </a:path>
                </a:pathLst>
              </a:custGeom>
              <a:solidFill>
                <a:srgbClr val="001638"/>
              </a:solidFill>
              <a:ln w="9525" cap="flat">
                <a:solidFill>
                  <a:srgbClr val="001638"/>
                </a:solidFill>
                <a:prstDash val="solid"/>
                <a:miter/>
              </a:ln>
            </p:spPr>
            <p:txBody>
              <a:bodyPr rtlCol="0" anchor="ctr"/>
              <a:lstStyle/>
              <a:p>
                <a:endParaRPr/>
              </a:p>
            </p:txBody>
          </p:sp>
          <p:sp>
            <p:nvSpPr>
              <p:cNvPr id="74" name="Forma Livre 44">
                <a:extLst>
                  <a:ext uri="{FF2B5EF4-FFF2-40B4-BE49-F238E27FC236}">
                    <a16:creationId xmlns:a16="http://schemas.microsoft.com/office/drawing/2014/main" id="{36142110-6642-76F3-8589-E36E2B356F0F}"/>
                  </a:ext>
                </a:extLst>
              </p:cNvPr>
              <p:cNvSpPr/>
              <p:nvPr/>
            </p:nvSpPr>
            <p:spPr>
              <a:xfrm>
                <a:off x="2993130" y="3525106"/>
                <a:ext cx="40669" cy="8106"/>
              </a:xfrm>
              <a:custGeom>
                <a:avLst/>
                <a:gdLst>
                  <a:gd name="connsiteX0" fmla="*/ 0 w 40669"/>
                  <a:gd name="connsiteY0" fmla="*/ 4053 h 8106"/>
                  <a:gd name="connsiteX1" fmla="*/ 4053 w 40669"/>
                  <a:gd name="connsiteY1" fmla="*/ 8106 h 8106"/>
                  <a:gd name="connsiteX2" fmla="*/ 37480 w 40669"/>
                  <a:gd name="connsiteY2" fmla="*/ 8106 h 8106"/>
                  <a:gd name="connsiteX3" fmla="*/ 40669 w 40669"/>
                  <a:gd name="connsiteY3" fmla="*/ 0 h 8106"/>
                  <a:gd name="connsiteX4" fmla="*/ 4053 w 40669"/>
                  <a:gd name="connsiteY4" fmla="*/ 0 h 8106"/>
                  <a:gd name="connsiteX5" fmla="*/ 0 w 40669"/>
                  <a:gd name="connsiteY5" fmla="*/ 4053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9" h="8106">
                    <a:moveTo>
                      <a:pt x="0" y="4053"/>
                    </a:moveTo>
                    <a:cubicBezTo>
                      <a:pt x="0" y="6291"/>
                      <a:pt x="1815" y="8106"/>
                      <a:pt x="4053" y="8106"/>
                    </a:cubicBezTo>
                    <a:lnTo>
                      <a:pt x="37480" y="8106"/>
                    </a:lnTo>
                    <a:lnTo>
                      <a:pt x="40669" y="0"/>
                    </a:lnTo>
                    <a:lnTo>
                      <a:pt x="4053" y="0"/>
                    </a:lnTo>
                    <a:cubicBezTo>
                      <a:pt x="1810" y="0"/>
                      <a:pt x="0" y="1811"/>
                      <a:pt x="0" y="4053"/>
                    </a:cubicBezTo>
                    <a:close/>
                  </a:path>
                </a:pathLst>
              </a:custGeom>
              <a:solidFill>
                <a:srgbClr val="001638"/>
              </a:solidFill>
              <a:ln w="490" cap="flat">
                <a:noFill/>
                <a:prstDash val="solid"/>
                <a:miter/>
              </a:ln>
            </p:spPr>
            <p:txBody>
              <a:bodyPr rtlCol="0" anchor="ctr"/>
              <a:lstStyle/>
              <a:p>
                <a:endParaRPr/>
              </a:p>
            </p:txBody>
          </p:sp>
          <p:sp>
            <p:nvSpPr>
              <p:cNvPr id="75" name="Forma Livre 45">
                <a:extLst>
                  <a:ext uri="{FF2B5EF4-FFF2-40B4-BE49-F238E27FC236}">
                    <a16:creationId xmlns:a16="http://schemas.microsoft.com/office/drawing/2014/main" id="{8D37A714-CB72-4E36-6EDF-3CD8460F19E2}"/>
                  </a:ext>
                </a:extLst>
              </p:cNvPr>
              <p:cNvSpPr/>
              <p:nvPr/>
            </p:nvSpPr>
            <p:spPr>
              <a:xfrm>
                <a:off x="3057463" y="3525106"/>
                <a:ext cx="8630" cy="8106"/>
              </a:xfrm>
              <a:custGeom>
                <a:avLst/>
                <a:gdLst>
                  <a:gd name="connsiteX0" fmla="*/ 4578 w 8630"/>
                  <a:gd name="connsiteY0" fmla="*/ 8106 h 8106"/>
                  <a:gd name="connsiteX1" fmla="*/ 8630 w 8630"/>
                  <a:gd name="connsiteY1" fmla="*/ 4053 h 8106"/>
                  <a:gd name="connsiteX2" fmla="*/ 4578 w 8630"/>
                  <a:gd name="connsiteY2" fmla="*/ 0 h 8106"/>
                  <a:gd name="connsiteX3" fmla="*/ 3184 w 8630"/>
                  <a:gd name="connsiteY3" fmla="*/ 0 h 8106"/>
                  <a:gd name="connsiteX4" fmla="*/ 0 w 8630"/>
                  <a:gd name="connsiteY4" fmla="*/ 8106 h 8106"/>
                  <a:gd name="connsiteX5" fmla="*/ 4578 w 8630"/>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0" h="8106">
                    <a:moveTo>
                      <a:pt x="4578" y="8106"/>
                    </a:moveTo>
                    <a:cubicBezTo>
                      <a:pt x="6815" y="8106"/>
                      <a:pt x="8630" y="6291"/>
                      <a:pt x="8630" y="4053"/>
                    </a:cubicBezTo>
                    <a:cubicBezTo>
                      <a:pt x="8630" y="1816"/>
                      <a:pt x="6815" y="0"/>
                      <a:pt x="4578" y="0"/>
                    </a:cubicBezTo>
                    <a:lnTo>
                      <a:pt x="3184" y="0"/>
                    </a:lnTo>
                    <a:lnTo>
                      <a:pt x="0" y="8106"/>
                    </a:lnTo>
                    <a:lnTo>
                      <a:pt x="4578" y="8106"/>
                    </a:lnTo>
                    <a:close/>
                  </a:path>
                </a:pathLst>
              </a:custGeom>
              <a:solidFill>
                <a:srgbClr val="001638"/>
              </a:solidFill>
              <a:ln w="490" cap="flat">
                <a:noFill/>
                <a:prstDash val="solid"/>
                <a:miter/>
              </a:ln>
            </p:spPr>
            <p:txBody>
              <a:bodyPr rtlCol="0" anchor="ctr"/>
              <a:lstStyle/>
              <a:p>
                <a:endParaRPr/>
              </a:p>
            </p:txBody>
          </p:sp>
          <p:sp>
            <p:nvSpPr>
              <p:cNvPr id="76" name="Forma Livre 46">
                <a:extLst>
                  <a:ext uri="{FF2B5EF4-FFF2-40B4-BE49-F238E27FC236}">
                    <a16:creationId xmlns:a16="http://schemas.microsoft.com/office/drawing/2014/main" id="{A4D8BCAD-F1C5-F992-7E11-1B187C7DF11C}"/>
                  </a:ext>
                </a:extLst>
              </p:cNvPr>
              <p:cNvSpPr/>
              <p:nvPr/>
            </p:nvSpPr>
            <p:spPr>
              <a:xfrm>
                <a:off x="3047901" y="3549430"/>
                <a:ext cx="34408" cy="8106"/>
              </a:xfrm>
              <a:custGeom>
                <a:avLst/>
                <a:gdLst>
                  <a:gd name="connsiteX0" fmla="*/ 30356 w 34408"/>
                  <a:gd name="connsiteY0" fmla="*/ 8106 h 8106"/>
                  <a:gd name="connsiteX1" fmla="*/ 34409 w 34408"/>
                  <a:gd name="connsiteY1" fmla="*/ 4053 h 8106"/>
                  <a:gd name="connsiteX2" fmla="*/ 30356 w 34408"/>
                  <a:gd name="connsiteY2" fmla="*/ 0 h 8106"/>
                  <a:gd name="connsiteX3" fmla="*/ 3184 w 34408"/>
                  <a:gd name="connsiteY3" fmla="*/ 0 h 8106"/>
                  <a:gd name="connsiteX4" fmla="*/ 0 w 34408"/>
                  <a:gd name="connsiteY4" fmla="*/ 8106 h 8106"/>
                  <a:gd name="connsiteX5" fmla="*/ 30356 w 34408"/>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08" h="8106">
                    <a:moveTo>
                      <a:pt x="30356" y="8106"/>
                    </a:moveTo>
                    <a:cubicBezTo>
                      <a:pt x="32593" y="8106"/>
                      <a:pt x="34409" y="6291"/>
                      <a:pt x="34409" y="4053"/>
                    </a:cubicBezTo>
                    <a:cubicBezTo>
                      <a:pt x="34409" y="1816"/>
                      <a:pt x="32593" y="0"/>
                      <a:pt x="30356" y="0"/>
                    </a:cubicBezTo>
                    <a:lnTo>
                      <a:pt x="3184" y="0"/>
                    </a:lnTo>
                    <a:lnTo>
                      <a:pt x="0" y="8106"/>
                    </a:lnTo>
                    <a:lnTo>
                      <a:pt x="30356" y="8106"/>
                    </a:lnTo>
                    <a:close/>
                  </a:path>
                </a:pathLst>
              </a:custGeom>
              <a:solidFill>
                <a:srgbClr val="001638"/>
              </a:solidFill>
              <a:ln w="490" cap="flat">
                <a:noFill/>
                <a:prstDash val="solid"/>
                <a:miter/>
              </a:ln>
            </p:spPr>
            <p:txBody>
              <a:bodyPr rtlCol="0" anchor="ctr"/>
              <a:lstStyle/>
              <a:p>
                <a:endParaRPr/>
              </a:p>
            </p:txBody>
          </p:sp>
          <p:sp>
            <p:nvSpPr>
              <p:cNvPr id="77" name="Forma Livre 47">
                <a:extLst>
                  <a:ext uri="{FF2B5EF4-FFF2-40B4-BE49-F238E27FC236}">
                    <a16:creationId xmlns:a16="http://schemas.microsoft.com/office/drawing/2014/main" id="{F95F119F-8588-A7C2-60FD-7C9AADABF58C}"/>
                  </a:ext>
                </a:extLst>
              </p:cNvPr>
              <p:cNvSpPr/>
              <p:nvPr/>
            </p:nvSpPr>
            <p:spPr>
              <a:xfrm>
                <a:off x="2993130" y="3549430"/>
                <a:ext cx="31096" cy="8106"/>
              </a:xfrm>
              <a:custGeom>
                <a:avLst/>
                <a:gdLst>
                  <a:gd name="connsiteX0" fmla="*/ 4053 w 31096"/>
                  <a:gd name="connsiteY0" fmla="*/ 0 h 8106"/>
                  <a:gd name="connsiteX1" fmla="*/ 0 w 31096"/>
                  <a:gd name="connsiteY1" fmla="*/ 4053 h 8106"/>
                  <a:gd name="connsiteX2" fmla="*/ 4053 w 31096"/>
                  <a:gd name="connsiteY2" fmla="*/ 8106 h 8106"/>
                  <a:gd name="connsiteX3" fmla="*/ 27908 w 31096"/>
                  <a:gd name="connsiteY3" fmla="*/ 8106 h 8106"/>
                  <a:gd name="connsiteX4" fmla="*/ 31097 w 31096"/>
                  <a:gd name="connsiteY4" fmla="*/ 0 h 8106"/>
                  <a:gd name="connsiteX5" fmla="*/ 4053 w 31096"/>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96" h="8106">
                    <a:moveTo>
                      <a:pt x="4053" y="0"/>
                    </a:moveTo>
                    <a:cubicBezTo>
                      <a:pt x="1815" y="0"/>
                      <a:pt x="0" y="1816"/>
                      <a:pt x="0" y="4053"/>
                    </a:cubicBezTo>
                    <a:cubicBezTo>
                      <a:pt x="0" y="6291"/>
                      <a:pt x="1815" y="8106"/>
                      <a:pt x="4053" y="8106"/>
                    </a:cubicBezTo>
                    <a:lnTo>
                      <a:pt x="27908" y="8106"/>
                    </a:lnTo>
                    <a:lnTo>
                      <a:pt x="31097" y="0"/>
                    </a:lnTo>
                    <a:lnTo>
                      <a:pt x="4053" y="0"/>
                    </a:lnTo>
                    <a:close/>
                  </a:path>
                </a:pathLst>
              </a:custGeom>
              <a:solidFill>
                <a:srgbClr val="001638"/>
              </a:solidFill>
              <a:ln w="490" cap="flat">
                <a:noFill/>
                <a:prstDash val="solid"/>
                <a:miter/>
              </a:ln>
            </p:spPr>
            <p:txBody>
              <a:bodyPr rtlCol="0" anchor="ctr"/>
              <a:lstStyle/>
              <a:p>
                <a:endParaRPr/>
              </a:p>
            </p:txBody>
          </p:sp>
          <p:sp>
            <p:nvSpPr>
              <p:cNvPr id="78" name="Forma Livre 48">
                <a:extLst>
                  <a:ext uri="{FF2B5EF4-FFF2-40B4-BE49-F238E27FC236}">
                    <a16:creationId xmlns:a16="http://schemas.microsoft.com/office/drawing/2014/main" id="{2643B1D2-0A1F-6B36-8205-7373E39A4B34}"/>
                  </a:ext>
                </a:extLst>
              </p:cNvPr>
              <p:cNvSpPr/>
              <p:nvPr/>
            </p:nvSpPr>
            <p:spPr>
              <a:xfrm>
                <a:off x="2993130" y="3573753"/>
                <a:ext cx="21529" cy="8106"/>
              </a:xfrm>
              <a:custGeom>
                <a:avLst/>
                <a:gdLst>
                  <a:gd name="connsiteX0" fmla="*/ 4053 w 21529"/>
                  <a:gd name="connsiteY0" fmla="*/ 0 h 8106"/>
                  <a:gd name="connsiteX1" fmla="*/ 0 w 21529"/>
                  <a:gd name="connsiteY1" fmla="*/ 4053 h 8106"/>
                  <a:gd name="connsiteX2" fmla="*/ 4053 w 21529"/>
                  <a:gd name="connsiteY2" fmla="*/ 8106 h 8106"/>
                  <a:gd name="connsiteX3" fmla="*/ 18340 w 21529"/>
                  <a:gd name="connsiteY3" fmla="*/ 8106 h 8106"/>
                  <a:gd name="connsiteX4" fmla="*/ 21529 w 21529"/>
                  <a:gd name="connsiteY4" fmla="*/ 0 h 8106"/>
                  <a:gd name="connsiteX5" fmla="*/ 4053 w 21529"/>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29" h="8106">
                    <a:moveTo>
                      <a:pt x="4053" y="0"/>
                    </a:moveTo>
                    <a:cubicBezTo>
                      <a:pt x="1815" y="0"/>
                      <a:pt x="0" y="1816"/>
                      <a:pt x="0" y="4053"/>
                    </a:cubicBezTo>
                    <a:cubicBezTo>
                      <a:pt x="0" y="6291"/>
                      <a:pt x="1815" y="8106"/>
                      <a:pt x="4053" y="8106"/>
                    </a:cubicBezTo>
                    <a:lnTo>
                      <a:pt x="18340" y="8106"/>
                    </a:lnTo>
                    <a:lnTo>
                      <a:pt x="21529" y="0"/>
                    </a:lnTo>
                    <a:lnTo>
                      <a:pt x="4053" y="0"/>
                    </a:lnTo>
                    <a:close/>
                  </a:path>
                </a:pathLst>
              </a:custGeom>
              <a:solidFill>
                <a:srgbClr val="001638"/>
              </a:solidFill>
              <a:ln w="490" cap="flat">
                <a:noFill/>
                <a:prstDash val="solid"/>
                <a:miter/>
              </a:ln>
            </p:spPr>
            <p:txBody>
              <a:bodyPr rtlCol="0" anchor="ctr"/>
              <a:lstStyle/>
              <a:p>
                <a:endParaRPr/>
              </a:p>
            </p:txBody>
          </p:sp>
          <p:sp>
            <p:nvSpPr>
              <p:cNvPr id="79" name="Forma Livre 49">
                <a:extLst>
                  <a:ext uri="{FF2B5EF4-FFF2-40B4-BE49-F238E27FC236}">
                    <a16:creationId xmlns:a16="http://schemas.microsoft.com/office/drawing/2014/main" id="{B6D05296-0E09-E050-F97E-FC5C29D0DAB3}"/>
                  </a:ext>
                </a:extLst>
              </p:cNvPr>
              <p:cNvSpPr/>
              <p:nvPr/>
            </p:nvSpPr>
            <p:spPr>
              <a:xfrm>
                <a:off x="3038343" y="3573758"/>
                <a:ext cx="43966" cy="8106"/>
              </a:xfrm>
              <a:custGeom>
                <a:avLst/>
                <a:gdLst>
                  <a:gd name="connsiteX0" fmla="*/ 39914 w 43966"/>
                  <a:gd name="connsiteY0" fmla="*/ 8106 h 8106"/>
                  <a:gd name="connsiteX1" fmla="*/ 43966 w 43966"/>
                  <a:gd name="connsiteY1" fmla="*/ 4053 h 8106"/>
                  <a:gd name="connsiteX2" fmla="*/ 39914 w 43966"/>
                  <a:gd name="connsiteY2" fmla="*/ 0 h 8106"/>
                  <a:gd name="connsiteX3" fmla="*/ 3184 w 43966"/>
                  <a:gd name="connsiteY3" fmla="*/ 0 h 8106"/>
                  <a:gd name="connsiteX4" fmla="*/ 0 w 43966"/>
                  <a:gd name="connsiteY4" fmla="*/ 8106 h 8106"/>
                  <a:gd name="connsiteX5" fmla="*/ 39914 w 43966"/>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66" h="8106">
                    <a:moveTo>
                      <a:pt x="39914" y="8106"/>
                    </a:moveTo>
                    <a:cubicBezTo>
                      <a:pt x="42151" y="8106"/>
                      <a:pt x="43966" y="6291"/>
                      <a:pt x="43966" y="4053"/>
                    </a:cubicBezTo>
                    <a:cubicBezTo>
                      <a:pt x="43966" y="1816"/>
                      <a:pt x="42151" y="0"/>
                      <a:pt x="39914" y="0"/>
                    </a:cubicBezTo>
                    <a:lnTo>
                      <a:pt x="3184" y="0"/>
                    </a:lnTo>
                    <a:lnTo>
                      <a:pt x="0" y="8106"/>
                    </a:lnTo>
                    <a:lnTo>
                      <a:pt x="39914" y="8106"/>
                    </a:lnTo>
                    <a:close/>
                  </a:path>
                </a:pathLst>
              </a:custGeom>
              <a:solidFill>
                <a:srgbClr val="001638"/>
              </a:solidFill>
              <a:ln w="490" cap="flat">
                <a:noFill/>
                <a:prstDash val="solid"/>
                <a:miter/>
              </a:ln>
            </p:spPr>
            <p:txBody>
              <a:bodyPr rtlCol="0" anchor="ctr"/>
              <a:lstStyle/>
              <a:p>
                <a:endParaRPr/>
              </a:p>
            </p:txBody>
          </p:sp>
          <p:sp>
            <p:nvSpPr>
              <p:cNvPr id="80" name="Forma Livre 50">
                <a:extLst>
                  <a:ext uri="{FF2B5EF4-FFF2-40B4-BE49-F238E27FC236}">
                    <a16:creationId xmlns:a16="http://schemas.microsoft.com/office/drawing/2014/main" id="{1C59969E-D51C-6C49-1ADE-CF02C155C76C}"/>
                  </a:ext>
                </a:extLst>
              </p:cNvPr>
              <p:cNvSpPr/>
              <p:nvPr/>
            </p:nvSpPr>
            <p:spPr>
              <a:xfrm>
                <a:off x="3028785" y="3598082"/>
                <a:ext cx="53524" cy="8106"/>
              </a:xfrm>
              <a:custGeom>
                <a:avLst/>
                <a:gdLst>
                  <a:gd name="connsiteX0" fmla="*/ 49471 w 53524"/>
                  <a:gd name="connsiteY0" fmla="*/ 8106 h 8106"/>
                  <a:gd name="connsiteX1" fmla="*/ 53524 w 53524"/>
                  <a:gd name="connsiteY1" fmla="*/ 4053 h 8106"/>
                  <a:gd name="connsiteX2" fmla="*/ 49471 w 53524"/>
                  <a:gd name="connsiteY2" fmla="*/ 0 h 8106"/>
                  <a:gd name="connsiteX3" fmla="*/ 3184 w 53524"/>
                  <a:gd name="connsiteY3" fmla="*/ 0 h 8106"/>
                  <a:gd name="connsiteX4" fmla="*/ 0 w 53524"/>
                  <a:gd name="connsiteY4" fmla="*/ 8106 h 8106"/>
                  <a:gd name="connsiteX5" fmla="*/ 49471 w 53524"/>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4" h="8106">
                    <a:moveTo>
                      <a:pt x="49471" y="8106"/>
                    </a:moveTo>
                    <a:cubicBezTo>
                      <a:pt x="51709" y="8106"/>
                      <a:pt x="53524" y="6291"/>
                      <a:pt x="53524" y="4053"/>
                    </a:cubicBezTo>
                    <a:cubicBezTo>
                      <a:pt x="53524" y="1816"/>
                      <a:pt x="51709" y="0"/>
                      <a:pt x="49471" y="0"/>
                    </a:cubicBezTo>
                    <a:lnTo>
                      <a:pt x="3184" y="0"/>
                    </a:lnTo>
                    <a:lnTo>
                      <a:pt x="0" y="8106"/>
                    </a:lnTo>
                    <a:lnTo>
                      <a:pt x="49471" y="8106"/>
                    </a:lnTo>
                    <a:close/>
                  </a:path>
                </a:pathLst>
              </a:custGeom>
              <a:solidFill>
                <a:srgbClr val="001638"/>
              </a:solidFill>
              <a:ln w="490" cap="flat">
                <a:noFill/>
                <a:prstDash val="solid"/>
                <a:miter/>
              </a:ln>
            </p:spPr>
            <p:txBody>
              <a:bodyPr rtlCol="0" anchor="ctr"/>
              <a:lstStyle/>
              <a:p>
                <a:endParaRPr/>
              </a:p>
            </p:txBody>
          </p:sp>
        </p:grpSp>
        <p:grpSp>
          <p:nvGrpSpPr>
            <p:cNvPr id="49" name="Agrupar 18">
              <a:extLst>
                <a:ext uri="{FF2B5EF4-FFF2-40B4-BE49-F238E27FC236}">
                  <a16:creationId xmlns:a16="http://schemas.microsoft.com/office/drawing/2014/main" id="{D1CA3C3B-D745-DB39-79DE-C3FEF617881E}"/>
                </a:ext>
              </a:extLst>
            </p:cNvPr>
            <p:cNvGrpSpPr/>
            <p:nvPr/>
          </p:nvGrpSpPr>
          <p:grpSpPr>
            <a:xfrm>
              <a:off x="4673188" y="1957820"/>
              <a:ext cx="212021" cy="184093"/>
              <a:chOff x="3425498" y="802378"/>
              <a:chExt cx="212021" cy="184093"/>
            </a:xfrm>
          </p:grpSpPr>
          <p:sp>
            <p:nvSpPr>
              <p:cNvPr id="62" name="Forma Livre 32">
                <a:extLst>
                  <a:ext uri="{FF2B5EF4-FFF2-40B4-BE49-F238E27FC236}">
                    <a16:creationId xmlns:a16="http://schemas.microsoft.com/office/drawing/2014/main" id="{59ED25D8-144E-8BA9-0F2A-8AEB804AB562}"/>
                  </a:ext>
                </a:extLst>
              </p:cNvPr>
              <p:cNvSpPr/>
              <p:nvPr/>
            </p:nvSpPr>
            <p:spPr>
              <a:xfrm>
                <a:off x="3517126" y="832271"/>
                <a:ext cx="111557" cy="145363"/>
              </a:xfrm>
              <a:custGeom>
                <a:avLst/>
                <a:gdLst>
                  <a:gd name="connsiteX0" fmla="*/ 57783 w 111557"/>
                  <a:gd name="connsiteY0" fmla="*/ 77250 h 145363"/>
                  <a:gd name="connsiteX1" fmla="*/ 14381 w 111557"/>
                  <a:gd name="connsiteY1" fmla="*/ 120657 h 145363"/>
                  <a:gd name="connsiteX2" fmla="*/ 9803 w 111557"/>
                  <a:gd name="connsiteY2" fmla="*/ 120417 h 145363"/>
                  <a:gd name="connsiteX3" fmla="*/ 0 w 111557"/>
                  <a:gd name="connsiteY3" fmla="*/ 145363 h 145363"/>
                  <a:gd name="connsiteX4" fmla="*/ 92569 w 111557"/>
                  <a:gd name="connsiteY4" fmla="*/ 145363 h 145363"/>
                  <a:gd name="connsiteX5" fmla="*/ 111557 w 111557"/>
                  <a:gd name="connsiteY5" fmla="*/ 126374 h 145363"/>
                  <a:gd name="connsiteX6" fmla="*/ 111557 w 111557"/>
                  <a:gd name="connsiteY6" fmla="*/ 28122 h 145363"/>
                  <a:gd name="connsiteX7" fmla="*/ 92569 w 111557"/>
                  <a:gd name="connsiteY7" fmla="*/ 9132 h 145363"/>
                  <a:gd name="connsiteX8" fmla="*/ 66173 w 111557"/>
                  <a:gd name="connsiteY8" fmla="*/ 9132 h 145363"/>
                  <a:gd name="connsiteX9" fmla="*/ 60766 w 111557"/>
                  <a:gd name="connsiteY9" fmla="*/ 6070 h 145363"/>
                  <a:gd name="connsiteX10" fmla="*/ 57121 w 111557"/>
                  <a:gd name="connsiteY10" fmla="*/ 0 h 145363"/>
                  <a:gd name="connsiteX11" fmla="*/ 40409 w 111557"/>
                  <a:gd name="connsiteY11" fmla="*/ 42529 h 145363"/>
                  <a:gd name="connsiteX12" fmla="*/ 57783 w 111557"/>
                  <a:gd name="connsiteY12" fmla="*/ 77250 h 14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557" h="145363">
                    <a:moveTo>
                      <a:pt x="57783" y="77250"/>
                    </a:moveTo>
                    <a:cubicBezTo>
                      <a:pt x="57783" y="101186"/>
                      <a:pt x="38314" y="120657"/>
                      <a:pt x="14381" y="120657"/>
                    </a:cubicBezTo>
                    <a:cubicBezTo>
                      <a:pt x="12835" y="120657"/>
                      <a:pt x="11309" y="120574"/>
                      <a:pt x="9803" y="120417"/>
                    </a:cubicBezTo>
                    <a:lnTo>
                      <a:pt x="0" y="145363"/>
                    </a:lnTo>
                    <a:lnTo>
                      <a:pt x="92569" y="145363"/>
                    </a:lnTo>
                    <a:cubicBezTo>
                      <a:pt x="103040" y="145363"/>
                      <a:pt x="111557" y="136845"/>
                      <a:pt x="111557" y="126374"/>
                    </a:cubicBezTo>
                    <a:lnTo>
                      <a:pt x="111557" y="28122"/>
                    </a:lnTo>
                    <a:cubicBezTo>
                      <a:pt x="111557" y="17650"/>
                      <a:pt x="103040" y="9132"/>
                      <a:pt x="92569" y="9132"/>
                    </a:cubicBezTo>
                    <a:lnTo>
                      <a:pt x="66173" y="9132"/>
                    </a:lnTo>
                    <a:cubicBezTo>
                      <a:pt x="63970" y="9132"/>
                      <a:pt x="61899" y="7959"/>
                      <a:pt x="60766" y="6070"/>
                    </a:cubicBezTo>
                    <a:lnTo>
                      <a:pt x="57121" y="0"/>
                    </a:lnTo>
                    <a:lnTo>
                      <a:pt x="40409" y="42529"/>
                    </a:lnTo>
                    <a:cubicBezTo>
                      <a:pt x="50953" y="50463"/>
                      <a:pt x="57783" y="63074"/>
                      <a:pt x="57783" y="77250"/>
                    </a:cubicBezTo>
                    <a:close/>
                  </a:path>
                </a:pathLst>
              </a:custGeom>
              <a:noFill/>
              <a:ln w="490" cap="flat">
                <a:noFill/>
                <a:prstDash val="solid"/>
                <a:miter/>
              </a:ln>
            </p:spPr>
            <p:txBody>
              <a:bodyPr rtlCol="0" anchor="ctr"/>
              <a:lstStyle/>
              <a:p>
                <a:endParaRPr/>
              </a:p>
            </p:txBody>
          </p:sp>
          <p:sp>
            <p:nvSpPr>
              <p:cNvPr id="63" name="Forma Livre 33">
                <a:extLst>
                  <a:ext uri="{FF2B5EF4-FFF2-40B4-BE49-F238E27FC236}">
                    <a16:creationId xmlns:a16="http://schemas.microsoft.com/office/drawing/2014/main" id="{04EE7521-E0D8-C56D-600C-E2DCF802C505}"/>
                  </a:ext>
                </a:extLst>
              </p:cNvPr>
              <p:cNvSpPr/>
              <p:nvPr/>
            </p:nvSpPr>
            <p:spPr>
              <a:xfrm>
                <a:off x="3530319" y="883426"/>
                <a:ext cx="35757" cy="60669"/>
              </a:xfrm>
              <a:custGeom>
                <a:avLst/>
                <a:gdLst>
                  <a:gd name="connsiteX0" fmla="*/ 1187 w 35757"/>
                  <a:gd name="connsiteY0" fmla="*/ 60670 h 60669"/>
                  <a:gd name="connsiteX1" fmla="*/ 35758 w 35757"/>
                  <a:gd name="connsiteY1" fmla="*/ 26095 h 60669"/>
                  <a:gd name="connsiteX2" fmla="*/ 23830 w 35757"/>
                  <a:gd name="connsiteY2" fmla="*/ 0 h 60669"/>
                  <a:gd name="connsiteX3" fmla="*/ 0 w 35757"/>
                  <a:gd name="connsiteY3" fmla="*/ 60640 h 60669"/>
                  <a:gd name="connsiteX4" fmla="*/ 1187 w 35757"/>
                  <a:gd name="connsiteY4" fmla="*/ 60670 h 6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7" h="60669">
                    <a:moveTo>
                      <a:pt x="1187" y="60670"/>
                    </a:moveTo>
                    <a:cubicBezTo>
                      <a:pt x="20249" y="60670"/>
                      <a:pt x="35758" y="45159"/>
                      <a:pt x="35758" y="26095"/>
                    </a:cubicBezTo>
                    <a:cubicBezTo>
                      <a:pt x="35758" y="15688"/>
                      <a:pt x="31126" y="6345"/>
                      <a:pt x="23830" y="0"/>
                    </a:cubicBezTo>
                    <a:lnTo>
                      <a:pt x="0" y="60640"/>
                    </a:lnTo>
                    <a:cubicBezTo>
                      <a:pt x="392" y="60655"/>
                      <a:pt x="790" y="60670"/>
                      <a:pt x="1187" y="60670"/>
                    </a:cubicBezTo>
                    <a:close/>
                  </a:path>
                </a:pathLst>
              </a:custGeom>
              <a:noFill/>
              <a:ln w="490" cap="flat">
                <a:noFill/>
                <a:prstDash val="solid"/>
                <a:miter/>
              </a:ln>
            </p:spPr>
            <p:txBody>
              <a:bodyPr rtlCol="0" anchor="ctr"/>
              <a:lstStyle/>
              <a:p>
                <a:endParaRPr/>
              </a:p>
            </p:txBody>
          </p:sp>
          <p:sp>
            <p:nvSpPr>
              <p:cNvPr id="64" name="Forma Livre 34">
                <a:extLst>
                  <a:ext uri="{FF2B5EF4-FFF2-40B4-BE49-F238E27FC236}">
                    <a16:creationId xmlns:a16="http://schemas.microsoft.com/office/drawing/2014/main" id="{835566C1-CB1E-9680-261F-0E5CEE214952}"/>
                  </a:ext>
                </a:extLst>
              </p:cNvPr>
              <p:cNvSpPr/>
              <p:nvPr/>
            </p:nvSpPr>
            <p:spPr>
              <a:xfrm>
                <a:off x="3434330" y="811215"/>
                <a:ext cx="121144" cy="166424"/>
              </a:xfrm>
              <a:custGeom>
                <a:avLst/>
                <a:gdLst>
                  <a:gd name="connsiteX0" fmla="*/ 53774 w 121144"/>
                  <a:gd name="connsiteY0" fmla="*/ 98306 h 166424"/>
                  <a:gd name="connsiteX1" fmla="*/ 97177 w 121144"/>
                  <a:gd name="connsiteY1" fmla="*/ 54899 h 166424"/>
                  <a:gd name="connsiteX2" fmla="*/ 99748 w 121144"/>
                  <a:gd name="connsiteY2" fmla="*/ 54977 h 166424"/>
                  <a:gd name="connsiteX3" fmla="*/ 121144 w 121144"/>
                  <a:gd name="connsiteY3" fmla="*/ 584 h 166424"/>
                  <a:gd name="connsiteX4" fmla="*/ 116528 w 121144"/>
                  <a:gd name="connsiteY4" fmla="*/ 0 h 166424"/>
                  <a:gd name="connsiteX5" fmla="*/ 76084 w 121144"/>
                  <a:gd name="connsiteY5" fmla="*/ 0 h 166424"/>
                  <a:gd name="connsiteX6" fmla="*/ 59760 w 121144"/>
                  <a:gd name="connsiteY6" fmla="*/ 9284 h 166424"/>
                  <a:gd name="connsiteX7" fmla="*/ 49167 w 121144"/>
                  <a:gd name="connsiteY7" fmla="*/ 27106 h 166424"/>
                  <a:gd name="connsiteX8" fmla="*/ 43746 w 121144"/>
                  <a:gd name="connsiteY8" fmla="*/ 30192 h 166424"/>
                  <a:gd name="connsiteX9" fmla="*/ 18988 w 121144"/>
                  <a:gd name="connsiteY9" fmla="*/ 30192 h 166424"/>
                  <a:gd name="connsiteX10" fmla="*/ 0 w 121144"/>
                  <a:gd name="connsiteY10" fmla="*/ 49182 h 166424"/>
                  <a:gd name="connsiteX11" fmla="*/ 0 w 121144"/>
                  <a:gd name="connsiteY11" fmla="*/ 147434 h 166424"/>
                  <a:gd name="connsiteX12" fmla="*/ 18988 w 121144"/>
                  <a:gd name="connsiteY12" fmla="*/ 166424 h 166424"/>
                  <a:gd name="connsiteX13" fmla="*/ 55909 w 121144"/>
                  <a:gd name="connsiteY13" fmla="*/ 166424 h 166424"/>
                  <a:gd name="connsiteX14" fmla="*/ 69544 w 121144"/>
                  <a:gd name="connsiteY14" fmla="*/ 131757 h 166424"/>
                  <a:gd name="connsiteX15" fmla="*/ 53774 w 121144"/>
                  <a:gd name="connsiteY15" fmla="*/ 98306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144" h="166424">
                    <a:moveTo>
                      <a:pt x="53774" y="98306"/>
                    </a:moveTo>
                    <a:cubicBezTo>
                      <a:pt x="53774" y="74370"/>
                      <a:pt x="73243" y="54899"/>
                      <a:pt x="97177" y="54899"/>
                    </a:cubicBezTo>
                    <a:cubicBezTo>
                      <a:pt x="98040" y="54899"/>
                      <a:pt x="98894" y="54928"/>
                      <a:pt x="99748" y="54977"/>
                    </a:cubicBezTo>
                    <a:lnTo>
                      <a:pt x="121144" y="584"/>
                    </a:lnTo>
                    <a:cubicBezTo>
                      <a:pt x="119648" y="206"/>
                      <a:pt x="118098" y="0"/>
                      <a:pt x="116528" y="0"/>
                    </a:cubicBezTo>
                    <a:lnTo>
                      <a:pt x="76084" y="0"/>
                    </a:lnTo>
                    <a:cubicBezTo>
                      <a:pt x="69421" y="0"/>
                      <a:pt x="63165" y="3558"/>
                      <a:pt x="59760" y="9284"/>
                    </a:cubicBezTo>
                    <a:lnTo>
                      <a:pt x="49167" y="27106"/>
                    </a:lnTo>
                    <a:cubicBezTo>
                      <a:pt x="48039" y="29010"/>
                      <a:pt x="45958" y="30192"/>
                      <a:pt x="43746" y="30192"/>
                    </a:cubicBezTo>
                    <a:lnTo>
                      <a:pt x="18988" y="30192"/>
                    </a:lnTo>
                    <a:cubicBezTo>
                      <a:pt x="8518" y="30192"/>
                      <a:pt x="0" y="38711"/>
                      <a:pt x="0" y="49182"/>
                    </a:cubicBezTo>
                    <a:lnTo>
                      <a:pt x="0" y="147434"/>
                    </a:lnTo>
                    <a:cubicBezTo>
                      <a:pt x="0" y="157906"/>
                      <a:pt x="8518" y="166424"/>
                      <a:pt x="18988" y="166424"/>
                    </a:cubicBezTo>
                    <a:lnTo>
                      <a:pt x="55909" y="166424"/>
                    </a:lnTo>
                    <a:lnTo>
                      <a:pt x="69544" y="131757"/>
                    </a:lnTo>
                    <a:cubicBezTo>
                      <a:pt x="59917" y="123788"/>
                      <a:pt x="53774" y="111751"/>
                      <a:pt x="53774" y="98306"/>
                    </a:cubicBezTo>
                    <a:close/>
                  </a:path>
                </a:pathLst>
              </a:custGeom>
              <a:noFill/>
              <a:ln w="490" cap="flat">
                <a:noFill/>
                <a:prstDash val="solid"/>
                <a:miter/>
              </a:ln>
            </p:spPr>
            <p:txBody>
              <a:bodyPr rtlCol="0" anchor="ctr"/>
              <a:lstStyle/>
              <a:p>
                <a:endParaRPr/>
              </a:p>
            </p:txBody>
          </p:sp>
          <p:sp>
            <p:nvSpPr>
              <p:cNvPr id="65" name="Forma Livre 35">
                <a:extLst>
                  <a:ext uri="{FF2B5EF4-FFF2-40B4-BE49-F238E27FC236}">
                    <a16:creationId xmlns:a16="http://schemas.microsoft.com/office/drawing/2014/main" id="{2C734890-2CDC-3920-D17B-0D7E4641ECEF}"/>
                  </a:ext>
                </a:extLst>
              </p:cNvPr>
              <p:cNvSpPr/>
              <p:nvPr/>
            </p:nvSpPr>
            <p:spPr>
              <a:xfrm>
                <a:off x="3496936" y="874966"/>
                <a:ext cx="33692" cy="59231"/>
              </a:xfrm>
              <a:custGeom>
                <a:avLst/>
                <a:gdLst>
                  <a:gd name="connsiteX0" fmla="*/ 0 w 33692"/>
                  <a:gd name="connsiteY0" fmla="*/ 34555 h 59231"/>
                  <a:gd name="connsiteX1" fmla="*/ 10392 w 33692"/>
                  <a:gd name="connsiteY1" fmla="*/ 59232 h 59231"/>
                  <a:gd name="connsiteX2" fmla="*/ 33692 w 33692"/>
                  <a:gd name="connsiteY2" fmla="*/ 0 h 59231"/>
                  <a:gd name="connsiteX3" fmla="*/ 0 w 33692"/>
                  <a:gd name="connsiteY3" fmla="*/ 34555 h 59231"/>
                </a:gdLst>
                <a:ahLst/>
                <a:cxnLst>
                  <a:cxn ang="0">
                    <a:pos x="connsiteX0" y="connsiteY0"/>
                  </a:cxn>
                  <a:cxn ang="0">
                    <a:pos x="connsiteX1" y="connsiteY1"/>
                  </a:cxn>
                  <a:cxn ang="0">
                    <a:pos x="connsiteX2" y="connsiteY2"/>
                  </a:cxn>
                  <a:cxn ang="0">
                    <a:pos x="connsiteX3" y="connsiteY3"/>
                  </a:cxn>
                </a:cxnLst>
                <a:rect l="l" t="t" r="r" b="b"/>
                <a:pathLst>
                  <a:path w="33692" h="59231">
                    <a:moveTo>
                      <a:pt x="0" y="34555"/>
                    </a:moveTo>
                    <a:cubicBezTo>
                      <a:pt x="0" y="44212"/>
                      <a:pt x="3984" y="52956"/>
                      <a:pt x="10392" y="59232"/>
                    </a:cubicBezTo>
                    <a:lnTo>
                      <a:pt x="33692" y="0"/>
                    </a:lnTo>
                    <a:cubicBezTo>
                      <a:pt x="15033" y="471"/>
                      <a:pt x="0" y="15786"/>
                      <a:pt x="0" y="34555"/>
                    </a:cubicBezTo>
                    <a:close/>
                  </a:path>
                </a:pathLst>
              </a:custGeom>
              <a:noFill/>
              <a:ln w="490" cap="flat">
                <a:noFill/>
                <a:prstDash val="solid"/>
                <a:miter/>
              </a:ln>
            </p:spPr>
            <p:txBody>
              <a:bodyPr rtlCol="0" anchor="ctr"/>
              <a:lstStyle/>
              <a:p>
                <a:endParaRPr/>
              </a:p>
            </p:txBody>
          </p:sp>
          <p:sp>
            <p:nvSpPr>
              <p:cNvPr id="66" name="Forma Livre 36">
                <a:extLst>
                  <a:ext uri="{FF2B5EF4-FFF2-40B4-BE49-F238E27FC236}">
                    <a16:creationId xmlns:a16="http://schemas.microsoft.com/office/drawing/2014/main" id="{36DDC735-974C-F6AB-0588-203A02621D1B}"/>
                  </a:ext>
                </a:extLst>
              </p:cNvPr>
              <p:cNvSpPr/>
              <p:nvPr/>
            </p:nvSpPr>
            <p:spPr>
              <a:xfrm>
                <a:off x="3513662" y="821902"/>
                <a:ext cx="123857" cy="164564"/>
              </a:xfrm>
              <a:custGeom>
                <a:avLst/>
                <a:gdLst>
                  <a:gd name="connsiteX0" fmla="*/ 96033 w 123857"/>
                  <a:gd name="connsiteY0" fmla="*/ 10668 h 164564"/>
                  <a:gd name="connsiteX1" fmla="*/ 71070 w 123857"/>
                  <a:gd name="connsiteY1" fmla="*/ 10668 h 164564"/>
                  <a:gd name="connsiteX2" fmla="*/ 64667 w 123857"/>
                  <a:gd name="connsiteY2" fmla="*/ 0 h 164564"/>
                  <a:gd name="connsiteX3" fmla="*/ 60589 w 123857"/>
                  <a:gd name="connsiteY3" fmla="*/ 10368 h 164564"/>
                  <a:gd name="connsiteX4" fmla="*/ 64235 w 123857"/>
                  <a:gd name="connsiteY4" fmla="*/ 16438 h 164564"/>
                  <a:gd name="connsiteX5" fmla="*/ 69642 w 123857"/>
                  <a:gd name="connsiteY5" fmla="*/ 19500 h 164564"/>
                  <a:gd name="connsiteX6" fmla="*/ 96038 w 123857"/>
                  <a:gd name="connsiteY6" fmla="*/ 19500 h 164564"/>
                  <a:gd name="connsiteX7" fmla="*/ 115026 w 123857"/>
                  <a:gd name="connsiteY7" fmla="*/ 38490 h 164564"/>
                  <a:gd name="connsiteX8" fmla="*/ 115026 w 123857"/>
                  <a:gd name="connsiteY8" fmla="*/ 136742 h 164564"/>
                  <a:gd name="connsiteX9" fmla="*/ 96038 w 123857"/>
                  <a:gd name="connsiteY9" fmla="*/ 155732 h 164564"/>
                  <a:gd name="connsiteX10" fmla="*/ 3469 w 123857"/>
                  <a:gd name="connsiteY10" fmla="*/ 155732 h 164564"/>
                  <a:gd name="connsiteX11" fmla="*/ 0 w 123857"/>
                  <a:gd name="connsiteY11" fmla="*/ 164564 h 164564"/>
                  <a:gd name="connsiteX12" fmla="*/ 96038 w 123857"/>
                  <a:gd name="connsiteY12" fmla="*/ 164564 h 164564"/>
                  <a:gd name="connsiteX13" fmla="*/ 123858 w 123857"/>
                  <a:gd name="connsiteY13" fmla="*/ 136742 h 164564"/>
                  <a:gd name="connsiteX14" fmla="*/ 123858 w 123857"/>
                  <a:gd name="connsiteY14" fmla="*/ 38490 h 164564"/>
                  <a:gd name="connsiteX15" fmla="*/ 96033 w 123857"/>
                  <a:gd name="connsiteY15" fmla="*/ 10668 h 16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57" h="164564">
                    <a:moveTo>
                      <a:pt x="96033" y="10668"/>
                    </a:moveTo>
                    <a:lnTo>
                      <a:pt x="71070" y="10668"/>
                    </a:lnTo>
                    <a:lnTo>
                      <a:pt x="64667" y="0"/>
                    </a:lnTo>
                    <a:lnTo>
                      <a:pt x="60589" y="10368"/>
                    </a:lnTo>
                    <a:lnTo>
                      <a:pt x="64235" y="16438"/>
                    </a:lnTo>
                    <a:cubicBezTo>
                      <a:pt x="65368" y="18328"/>
                      <a:pt x="67439" y="19500"/>
                      <a:pt x="69642" y="19500"/>
                    </a:cubicBezTo>
                    <a:lnTo>
                      <a:pt x="96038" y="19500"/>
                    </a:lnTo>
                    <a:cubicBezTo>
                      <a:pt x="106509" y="19500"/>
                      <a:pt x="115026" y="28019"/>
                      <a:pt x="115026" y="38490"/>
                    </a:cubicBezTo>
                    <a:lnTo>
                      <a:pt x="115026" y="136742"/>
                    </a:lnTo>
                    <a:cubicBezTo>
                      <a:pt x="115026" y="147213"/>
                      <a:pt x="106509" y="155732"/>
                      <a:pt x="96038" y="155732"/>
                    </a:cubicBezTo>
                    <a:lnTo>
                      <a:pt x="3469" y="155732"/>
                    </a:lnTo>
                    <a:lnTo>
                      <a:pt x="0" y="164564"/>
                    </a:lnTo>
                    <a:lnTo>
                      <a:pt x="96038" y="164564"/>
                    </a:lnTo>
                    <a:cubicBezTo>
                      <a:pt x="111376" y="164564"/>
                      <a:pt x="123858" y="152081"/>
                      <a:pt x="123858" y="136742"/>
                    </a:cubicBezTo>
                    <a:lnTo>
                      <a:pt x="123858" y="38490"/>
                    </a:lnTo>
                    <a:cubicBezTo>
                      <a:pt x="123853" y="23151"/>
                      <a:pt x="111371" y="10668"/>
                      <a:pt x="96033" y="10668"/>
                    </a:cubicBezTo>
                    <a:close/>
                  </a:path>
                </a:pathLst>
              </a:custGeom>
              <a:solidFill>
                <a:srgbClr val="001638"/>
              </a:solidFill>
              <a:ln w="9525" cap="flat">
                <a:solidFill>
                  <a:srgbClr val="001638"/>
                </a:solidFill>
                <a:prstDash val="solid"/>
                <a:miter/>
              </a:ln>
            </p:spPr>
            <p:txBody>
              <a:bodyPr rtlCol="0" anchor="ctr"/>
              <a:lstStyle/>
              <a:p>
                <a:endParaRPr/>
              </a:p>
            </p:txBody>
          </p:sp>
          <p:sp>
            <p:nvSpPr>
              <p:cNvPr id="67" name="Forma Livre 37">
                <a:extLst>
                  <a:ext uri="{FF2B5EF4-FFF2-40B4-BE49-F238E27FC236}">
                    <a16:creationId xmlns:a16="http://schemas.microsoft.com/office/drawing/2014/main" id="{F33F30D4-E7EA-946A-11C2-FAD823144831}"/>
                  </a:ext>
                </a:extLst>
              </p:cNvPr>
              <p:cNvSpPr/>
              <p:nvPr/>
            </p:nvSpPr>
            <p:spPr>
              <a:xfrm>
                <a:off x="3425498" y="802378"/>
                <a:ext cx="133228" cy="184093"/>
              </a:xfrm>
              <a:custGeom>
                <a:avLst/>
                <a:gdLst>
                  <a:gd name="connsiteX0" fmla="*/ 27819 w 133228"/>
                  <a:gd name="connsiteY0" fmla="*/ 175257 h 184093"/>
                  <a:gd name="connsiteX1" fmla="*/ 8832 w 133228"/>
                  <a:gd name="connsiteY1" fmla="*/ 156267 h 184093"/>
                  <a:gd name="connsiteX2" fmla="*/ 8832 w 133228"/>
                  <a:gd name="connsiteY2" fmla="*/ 58015 h 184093"/>
                  <a:gd name="connsiteX3" fmla="*/ 27819 w 133228"/>
                  <a:gd name="connsiteY3" fmla="*/ 39025 h 184093"/>
                  <a:gd name="connsiteX4" fmla="*/ 52577 w 133228"/>
                  <a:gd name="connsiteY4" fmla="*/ 39025 h 184093"/>
                  <a:gd name="connsiteX5" fmla="*/ 57999 w 133228"/>
                  <a:gd name="connsiteY5" fmla="*/ 35938 h 184093"/>
                  <a:gd name="connsiteX6" fmla="*/ 68592 w 133228"/>
                  <a:gd name="connsiteY6" fmla="*/ 18116 h 184093"/>
                  <a:gd name="connsiteX7" fmla="*/ 84915 w 133228"/>
                  <a:gd name="connsiteY7" fmla="*/ 8833 h 184093"/>
                  <a:gd name="connsiteX8" fmla="*/ 125359 w 133228"/>
                  <a:gd name="connsiteY8" fmla="*/ 8833 h 184093"/>
                  <a:gd name="connsiteX9" fmla="*/ 129976 w 133228"/>
                  <a:gd name="connsiteY9" fmla="*/ 9416 h 184093"/>
                  <a:gd name="connsiteX10" fmla="*/ 133229 w 133228"/>
                  <a:gd name="connsiteY10" fmla="*/ 1153 h 184093"/>
                  <a:gd name="connsiteX11" fmla="*/ 125359 w 133228"/>
                  <a:gd name="connsiteY11" fmla="*/ 0 h 184093"/>
                  <a:gd name="connsiteX12" fmla="*/ 84915 w 133228"/>
                  <a:gd name="connsiteY12" fmla="*/ 0 h 184093"/>
                  <a:gd name="connsiteX13" fmla="*/ 61002 w 133228"/>
                  <a:gd name="connsiteY13" fmla="*/ 13607 h 184093"/>
                  <a:gd name="connsiteX14" fmla="*/ 51140 w 133228"/>
                  <a:gd name="connsiteY14" fmla="*/ 30197 h 184093"/>
                  <a:gd name="connsiteX15" fmla="*/ 27819 w 133228"/>
                  <a:gd name="connsiteY15" fmla="*/ 30197 h 184093"/>
                  <a:gd name="connsiteX16" fmla="*/ 0 w 133228"/>
                  <a:gd name="connsiteY16" fmla="*/ 58020 h 184093"/>
                  <a:gd name="connsiteX17" fmla="*/ 0 w 133228"/>
                  <a:gd name="connsiteY17" fmla="*/ 156272 h 184093"/>
                  <a:gd name="connsiteX18" fmla="*/ 27819 w 133228"/>
                  <a:gd name="connsiteY18" fmla="*/ 184094 h 184093"/>
                  <a:gd name="connsiteX19" fmla="*/ 61262 w 133228"/>
                  <a:gd name="connsiteY19" fmla="*/ 184094 h 184093"/>
                  <a:gd name="connsiteX20" fmla="*/ 64735 w 133228"/>
                  <a:gd name="connsiteY20" fmla="*/ 175261 h 184093"/>
                  <a:gd name="connsiteX21" fmla="*/ 27819 w 133228"/>
                  <a:gd name="connsiteY21" fmla="*/ 175261 h 18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228" h="184093">
                    <a:moveTo>
                      <a:pt x="27819" y="175257"/>
                    </a:moveTo>
                    <a:cubicBezTo>
                      <a:pt x="17349" y="175257"/>
                      <a:pt x="8832" y="166738"/>
                      <a:pt x="8832" y="156267"/>
                    </a:cubicBezTo>
                    <a:lnTo>
                      <a:pt x="8832" y="58015"/>
                    </a:lnTo>
                    <a:cubicBezTo>
                      <a:pt x="8832" y="47543"/>
                      <a:pt x="17349" y="39025"/>
                      <a:pt x="27819" y="39025"/>
                    </a:cubicBezTo>
                    <a:lnTo>
                      <a:pt x="52577" y="39025"/>
                    </a:lnTo>
                    <a:cubicBezTo>
                      <a:pt x="54790" y="39025"/>
                      <a:pt x="56865" y="37842"/>
                      <a:pt x="57999" y="35938"/>
                    </a:cubicBezTo>
                    <a:lnTo>
                      <a:pt x="68592" y="18116"/>
                    </a:lnTo>
                    <a:cubicBezTo>
                      <a:pt x="71997" y="12390"/>
                      <a:pt x="78253" y="8833"/>
                      <a:pt x="84915" y="8833"/>
                    </a:cubicBezTo>
                    <a:lnTo>
                      <a:pt x="125359" y="8833"/>
                    </a:lnTo>
                    <a:cubicBezTo>
                      <a:pt x="126934" y="8833"/>
                      <a:pt x="128480" y="9039"/>
                      <a:pt x="129976" y="9416"/>
                    </a:cubicBezTo>
                    <a:lnTo>
                      <a:pt x="133229" y="1153"/>
                    </a:lnTo>
                    <a:cubicBezTo>
                      <a:pt x="130702" y="402"/>
                      <a:pt x="128053" y="0"/>
                      <a:pt x="125359" y="0"/>
                    </a:cubicBezTo>
                    <a:lnTo>
                      <a:pt x="84915" y="0"/>
                    </a:lnTo>
                    <a:cubicBezTo>
                      <a:pt x="75152" y="0"/>
                      <a:pt x="65991" y="5211"/>
                      <a:pt x="61002" y="13607"/>
                    </a:cubicBezTo>
                    <a:lnTo>
                      <a:pt x="51140" y="30197"/>
                    </a:lnTo>
                    <a:lnTo>
                      <a:pt x="27819" y="30197"/>
                    </a:lnTo>
                    <a:cubicBezTo>
                      <a:pt x="12482" y="30197"/>
                      <a:pt x="0" y="42681"/>
                      <a:pt x="0" y="58020"/>
                    </a:cubicBezTo>
                    <a:lnTo>
                      <a:pt x="0" y="156272"/>
                    </a:lnTo>
                    <a:cubicBezTo>
                      <a:pt x="0" y="171611"/>
                      <a:pt x="12482" y="184094"/>
                      <a:pt x="27819" y="184094"/>
                    </a:cubicBezTo>
                    <a:lnTo>
                      <a:pt x="61262" y="184094"/>
                    </a:lnTo>
                    <a:lnTo>
                      <a:pt x="64735" y="175261"/>
                    </a:lnTo>
                    <a:lnTo>
                      <a:pt x="27819" y="175261"/>
                    </a:lnTo>
                    <a:close/>
                  </a:path>
                </a:pathLst>
              </a:custGeom>
              <a:solidFill>
                <a:srgbClr val="001638"/>
              </a:solidFill>
              <a:ln w="9525" cap="flat">
                <a:solidFill>
                  <a:srgbClr val="001638"/>
                </a:solidFill>
                <a:prstDash val="solid"/>
                <a:miter/>
              </a:ln>
            </p:spPr>
            <p:txBody>
              <a:bodyPr rtlCol="0" anchor="ctr"/>
              <a:lstStyle/>
              <a:p>
                <a:endParaRPr/>
              </a:p>
            </p:txBody>
          </p:sp>
          <p:sp>
            <p:nvSpPr>
              <p:cNvPr id="68" name="Forma Livre 38">
                <a:extLst>
                  <a:ext uri="{FF2B5EF4-FFF2-40B4-BE49-F238E27FC236}">
                    <a16:creationId xmlns:a16="http://schemas.microsoft.com/office/drawing/2014/main" id="{1551DFDC-B353-D8BF-F02F-35873EBEFA2A}"/>
                  </a:ext>
                </a:extLst>
              </p:cNvPr>
              <p:cNvSpPr/>
              <p:nvPr/>
            </p:nvSpPr>
            <p:spPr>
              <a:xfrm>
                <a:off x="3526929" y="874804"/>
                <a:ext cx="47979" cy="78123"/>
              </a:xfrm>
              <a:custGeom>
                <a:avLst/>
                <a:gdLst>
                  <a:gd name="connsiteX0" fmla="*/ 39148 w 47979"/>
                  <a:gd name="connsiteY0" fmla="*/ 34717 h 78123"/>
                  <a:gd name="connsiteX1" fmla="*/ 4578 w 47979"/>
                  <a:gd name="connsiteY1" fmla="*/ 69291 h 78123"/>
                  <a:gd name="connsiteX2" fmla="*/ 3390 w 47979"/>
                  <a:gd name="connsiteY2" fmla="*/ 69262 h 78123"/>
                  <a:gd name="connsiteX3" fmla="*/ 0 w 47979"/>
                  <a:gd name="connsiteY3" fmla="*/ 77883 h 78123"/>
                  <a:gd name="connsiteX4" fmla="*/ 4578 w 47979"/>
                  <a:gd name="connsiteY4" fmla="*/ 78124 h 78123"/>
                  <a:gd name="connsiteX5" fmla="*/ 47980 w 47979"/>
                  <a:gd name="connsiteY5" fmla="*/ 34717 h 78123"/>
                  <a:gd name="connsiteX6" fmla="*/ 30606 w 47979"/>
                  <a:gd name="connsiteY6" fmla="*/ 0 h 78123"/>
                  <a:gd name="connsiteX7" fmla="*/ 27221 w 47979"/>
                  <a:gd name="connsiteY7" fmla="*/ 8621 h 78123"/>
                  <a:gd name="connsiteX8" fmla="*/ 39148 w 47979"/>
                  <a:gd name="connsiteY8" fmla="*/ 34717 h 7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79" h="78123">
                    <a:moveTo>
                      <a:pt x="39148" y="34717"/>
                    </a:moveTo>
                    <a:cubicBezTo>
                      <a:pt x="39148" y="53780"/>
                      <a:pt x="23639" y="69291"/>
                      <a:pt x="4578" y="69291"/>
                    </a:cubicBezTo>
                    <a:cubicBezTo>
                      <a:pt x="4180" y="69291"/>
                      <a:pt x="3783" y="69276"/>
                      <a:pt x="3390" y="69262"/>
                    </a:cubicBezTo>
                    <a:lnTo>
                      <a:pt x="0" y="77883"/>
                    </a:lnTo>
                    <a:cubicBezTo>
                      <a:pt x="1506" y="78040"/>
                      <a:pt x="3032" y="78124"/>
                      <a:pt x="4578" y="78124"/>
                    </a:cubicBezTo>
                    <a:cubicBezTo>
                      <a:pt x="28511" y="78124"/>
                      <a:pt x="47980" y="58653"/>
                      <a:pt x="47980" y="34717"/>
                    </a:cubicBezTo>
                    <a:cubicBezTo>
                      <a:pt x="47980" y="20540"/>
                      <a:pt x="41150" y="7930"/>
                      <a:pt x="30606" y="0"/>
                    </a:cubicBezTo>
                    <a:lnTo>
                      <a:pt x="27221" y="8621"/>
                    </a:lnTo>
                    <a:cubicBezTo>
                      <a:pt x="34522" y="14966"/>
                      <a:pt x="39148" y="24309"/>
                      <a:pt x="39148" y="34717"/>
                    </a:cubicBezTo>
                    <a:close/>
                  </a:path>
                </a:pathLst>
              </a:custGeom>
              <a:solidFill>
                <a:srgbClr val="001638"/>
              </a:solidFill>
              <a:ln w="490" cap="flat">
                <a:noFill/>
                <a:prstDash val="solid"/>
                <a:miter/>
              </a:ln>
            </p:spPr>
            <p:txBody>
              <a:bodyPr rtlCol="0" anchor="ctr"/>
              <a:lstStyle/>
              <a:p>
                <a:endParaRPr/>
              </a:p>
            </p:txBody>
          </p:sp>
          <p:sp>
            <p:nvSpPr>
              <p:cNvPr id="69" name="Forma Livre 39">
                <a:extLst>
                  <a:ext uri="{FF2B5EF4-FFF2-40B4-BE49-F238E27FC236}">
                    <a16:creationId xmlns:a16="http://schemas.microsoft.com/office/drawing/2014/main" id="{788A5AEE-9398-4AB9-097B-1D038FDFB046}"/>
                  </a:ext>
                </a:extLst>
              </p:cNvPr>
              <p:cNvSpPr/>
              <p:nvPr/>
            </p:nvSpPr>
            <p:spPr>
              <a:xfrm>
                <a:off x="3488104" y="866109"/>
                <a:ext cx="45973" cy="76862"/>
              </a:xfrm>
              <a:custGeom>
                <a:avLst/>
                <a:gdLst>
                  <a:gd name="connsiteX0" fmla="*/ 0 w 45973"/>
                  <a:gd name="connsiteY0" fmla="*/ 43412 h 76862"/>
                  <a:gd name="connsiteX1" fmla="*/ 15769 w 45973"/>
                  <a:gd name="connsiteY1" fmla="*/ 76862 h 76862"/>
                  <a:gd name="connsiteX2" fmla="*/ 19218 w 45973"/>
                  <a:gd name="connsiteY2" fmla="*/ 68089 h 76862"/>
                  <a:gd name="connsiteX3" fmla="*/ 8827 w 45973"/>
                  <a:gd name="connsiteY3" fmla="*/ 43412 h 76862"/>
                  <a:gd name="connsiteX4" fmla="*/ 42519 w 45973"/>
                  <a:gd name="connsiteY4" fmla="*/ 8857 h 76862"/>
                  <a:gd name="connsiteX5" fmla="*/ 45973 w 45973"/>
                  <a:gd name="connsiteY5" fmla="*/ 78 h 76862"/>
                  <a:gd name="connsiteX6" fmla="*/ 43402 w 45973"/>
                  <a:gd name="connsiteY6" fmla="*/ 0 h 76862"/>
                  <a:gd name="connsiteX7" fmla="*/ 0 w 45973"/>
                  <a:gd name="connsiteY7" fmla="*/ 43412 h 7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3" h="76862">
                    <a:moveTo>
                      <a:pt x="0" y="43412"/>
                    </a:moveTo>
                    <a:cubicBezTo>
                      <a:pt x="0" y="56857"/>
                      <a:pt x="6143" y="68894"/>
                      <a:pt x="15769" y="76862"/>
                    </a:cubicBezTo>
                    <a:lnTo>
                      <a:pt x="19218" y="68089"/>
                    </a:lnTo>
                    <a:cubicBezTo>
                      <a:pt x="12811" y="61808"/>
                      <a:pt x="8827" y="53069"/>
                      <a:pt x="8827" y="43412"/>
                    </a:cubicBezTo>
                    <a:cubicBezTo>
                      <a:pt x="8827" y="24643"/>
                      <a:pt x="23860" y="9328"/>
                      <a:pt x="42519" y="8857"/>
                    </a:cubicBezTo>
                    <a:lnTo>
                      <a:pt x="45973" y="78"/>
                    </a:lnTo>
                    <a:cubicBezTo>
                      <a:pt x="45124" y="29"/>
                      <a:pt x="44266" y="0"/>
                      <a:pt x="43402" y="0"/>
                    </a:cubicBezTo>
                    <a:cubicBezTo>
                      <a:pt x="19469" y="0"/>
                      <a:pt x="0" y="19476"/>
                      <a:pt x="0" y="43412"/>
                    </a:cubicBezTo>
                    <a:close/>
                  </a:path>
                </a:pathLst>
              </a:custGeom>
              <a:solidFill>
                <a:srgbClr val="001638"/>
              </a:solidFill>
              <a:ln w="490" cap="flat">
                <a:noFill/>
                <a:prstDash val="solid"/>
                <a:miter/>
              </a:ln>
            </p:spPr>
            <p:txBody>
              <a:bodyPr rtlCol="0" anchor="ctr"/>
              <a:lstStyle/>
              <a:p>
                <a:endParaRPr/>
              </a:p>
            </p:txBody>
          </p:sp>
        </p:grpSp>
        <p:grpSp>
          <p:nvGrpSpPr>
            <p:cNvPr id="50" name="Agrupar 19">
              <a:extLst>
                <a:ext uri="{FF2B5EF4-FFF2-40B4-BE49-F238E27FC236}">
                  <a16:creationId xmlns:a16="http://schemas.microsoft.com/office/drawing/2014/main" id="{8A55D6E8-0445-AEF7-8B07-E8A63949075F}"/>
                </a:ext>
              </a:extLst>
            </p:cNvPr>
            <p:cNvGrpSpPr/>
            <p:nvPr/>
          </p:nvGrpSpPr>
          <p:grpSpPr>
            <a:xfrm>
              <a:off x="5020210" y="2000991"/>
              <a:ext cx="236631" cy="133798"/>
              <a:chOff x="3772520" y="845549"/>
              <a:chExt cx="236631" cy="133798"/>
            </a:xfrm>
          </p:grpSpPr>
          <p:sp>
            <p:nvSpPr>
              <p:cNvPr id="55" name="Forma Livre 25">
                <a:extLst>
                  <a:ext uri="{FF2B5EF4-FFF2-40B4-BE49-F238E27FC236}">
                    <a16:creationId xmlns:a16="http://schemas.microsoft.com/office/drawing/2014/main" id="{3B13089C-9032-F1DA-C1C7-4D0F527B9BEF}"/>
                  </a:ext>
                </a:extLst>
              </p:cNvPr>
              <p:cNvSpPr/>
              <p:nvPr/>
            </p:nvSpPr>
            <p:spPr>
              <a:xfrm>
                <a:off x="3781351" y="854386"/>
                <a:ext cx="93472" cy="116132"/>
              </a:xfrm>
              <a:custGeom>
                <a:avLst/>
                <a:gdLst>
                  <a:gd name="connsiteX0" fmla="*/ 10662 w 93472"/>
                  <a:gd name="connsiteY0" fmla="*/ 0 h 116132"/>
                  <a:gd name="connsiteX1" fmla="*/ 0 w 93472"/>
                  <a:gd name="connsiteY1" fmla="*/ 11796 h 116132"/>
                  <a:gd name="connsiteX2" fmla="*/ 0 w 93472"/>
                  <a:gd name="connsiteY2" fmla="*/ 104336 h 116132"/>
                  <a:gd name="connsiteX3" fmla="*/ 10662 w 93472"/>
                  <a:gd name="connsiteY3" fmla="*/ 116133 h 116132"/>
                  <a:gd name="connsiteX4" fmla="*/ 47789 w 93472"/>
                  <a:gd name="connsiteY4" fmla="*/ 116133 h 116132"/>
                  <a:gd name="connsiteX5" fmla="*/ 93472 w 93472"/>
                  <a:gd name="connsiteY5" fmla="*/ 0 h 116132"/>
                  <a:gd name="connsiteX6" fmla="*/ 10662 w 93472"/>
                  <a:gd name="connsiteY6" fmla="*/ 0 h 11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472" h="116132">
                    <a:moveTo>
                      <a:pt x="10662" y="0"/>
                    </a:moveTo>
                    <a:cubicBezTo>
                      <a:pt x="4784" y="0"/>
                      <a:pt x="0" y="5290"/>
                      <a:pt x="0" y="11796"/>
                    </a:cubicBezTo>
                    <a:lnTo>
                      <a:pt x="0" y="104336"/>
                    </a:lnTo>
                    <a:cubicBezTo>
                      <a:pt x="0" y="110843"/>
                      <a:pt x="4784" y="116133"/>
                      <a:pt x="10662" y="116133"/>
                    </a:cubicBezTo>
                    <a:lnTo>
                      <a:pt x="47789" y="116133"/>
                    </a:lnTo>
                    <a:lnTo>
                      <a:pt x="93472" y="0"/>
                    </a:lnTo>
                    <a:lnTo>
                      <a:pt x="10662" y="0"/>
                    </a:lnTo>
                    <a:close/>
                  </a:path>
                </a:pathLst>
              </a:custGeom>
              <a:noFill/>
              <a:ln w="490" cap="flat">
                <a:noFill/>
                <a:prstDash val="solid"/>
                <a:miter/>
              </a:ln>
            </p:spPr>
            <p:txBody>
              <a:bodyPr rtlCol="0" anchor="ctr"/>
              <a:lstStyle/>
              <a:p>
                <a:endParaRPr/>
              </a:p>
            </p:txBody>
          </p:sp>
          <p:sp>
            <p:nvSpPr>
              <p:cNvPr id="56" name="Forma Livre 26">
                <a:extLst>
                  <a:ext uri="{FF2B5EF4-FFF2-40B4-BE49-F238E27FC236}">
                    <a16:creationId xmlns:a16="http://schemas.microsoft.com/office/drawing/2014/main" id="{C904163A-EF87-D97C-300E-4D0F92C558D1}"/>
                  </a:ext>
                </a:extLst>
              </p:cNvPr>
              <p:cNvSpPr/>
              <p:nvPr/>
            </p:nvSpPr>
            <p:spPr>
              <a:xfrm>
                <a:off x="3950083" y="848788"/>
                <a:ext cx="59068" cy="127320"/>
              </a:xfrm>
              <a:custGeom>
                <a:avLst/>
                <a:gdLst>
                  <a:gd name="connsiteX0" fmla="*/ 56723 w 59068"/>
                  <a:gd name="connsiteY0" fmla="*/ 515 h 127320"/>
                  <a:gd name="connsiteX1" fmla="*/ 52175 w 59068"/>
                  <a:gd name="connsiteY1" fmla="*/ 760 h 127320"/>
                  <a:gd name="connsiteX2" fmla="*/ 0 w 59068"/>
                  <a:gd name="connsiteY2" fmla="*/ 36125 h 127320"/>
                  <a:gd name="connsiteX3" fmla="*/ 0 w 59068"/>
                  <a:gd name="connsiteY3" fmla="*/ 46792 h 127320"/>
                  <a:gd name="connsiteX4" fmla="*/ 50237 w 59068"/>
                  <a:gd name="connsiteY4" fmla="*/ 12743 h 127320"/>
                  <a:gd name="connsiteX5" fmla="*/ 50237 w 59068"/>
                  <a:gd name="connsiteY5" fmla="*/ 114763 h 127320"/>
                  <a:gd name="connsiteX6" fmla="*/ 0 w 59068"/>
                  <a:gd name="connsiteY6" fmla="*/ 82083 h 127320"/>
                  <a:gd name="connsiteX7" fmla="*/ 0 w 59068"/>
                  <a:gd name="connsiteY7" fmla="*/ 92618 h 127320"/>
                  <a:gd name="connsiteX8" fmla="*/ 52244 w 59068"/>
                  <a:gd name="connsiteY8" fmla="*/ 126604 h 127320"/>
                  <a:gd name="connsiteX9" fmla="*/ 54653 w 59068"/>
                  <a:gd name="connsiteY9" fmla="*/ 127320 h 127320"/>
                  <a:gd name="connsiteX10" fmla="*/ 56757 w 59068"/>
                  <a:gd name="connsiteY10" fmla="*/ 126785 h 127320"/>
                  <a:gd name="connsiteX11" fmla="*/ 59068 w 59068"/>
                  <a:gd name="connsiteY11" fmla="*/ 122904 h 127320"/>
                  <a:gd name="connsiteX12" fmla="*/ 59068 w 59068"/>
                  <a:gd name="connsiteY12" fmla="*/ 4416 h 127320"/>
                  <a:gd name="connsiteX13" fmla="*/ 56723 w 59068"/>
                  <a:gd name="connsiteY13" fmla="*/ 515 h 12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68" h="127320">
                    <a:moveTo>
                      <a:pt x="56723" y="515"/>
                    </a:moveTo>
                    <a:cubicBezTo>
                      <a:pt x="55281" y="-251"/>
                      <a:pt x="53529" y="-157"/>
                      <a:pt x="52175" y="760"/>
                    </a:cubicBezTo>
                    <a:lnTo>
                      <a:pt x="0" y="36125"/>
                    </a:lnTo>
                    <a:lnTo>
                      <a:pt x="0" y="46792"/>
                    </a:lnTo>
                    <a:lnTo>
                      <a:pt x="50237" y="12743"/>
                    </a:lnTo>
                    <a:lnTo>
                      <a:pt x="50237" y="114763"/>
                    </a:lnTo>
                    <a:lnTo>
                      <a:pt x="0" y="82083"/>
                    </a:lnTo>
                    <a:lnTo>
                      <a:pt x="0" y="92618"/>
                    </a:lnTo>
                    <a:lnTo>
                      <a:pt x="52244" y="126604"/>
                    </a:lnTo>
                    <a:cubicBezTo>
                      <a:pt x="52975" y="127080"/>
                      <a:pt x="53814" y="127320"/>
                      <a:pt x="54653" y="127320"/>
                    </a:cubicBezTo>
                    <a:cubicBezTo>
                      <a:pt x="55374" y="127320"/>
                      <a:pt x="56100" y="127144"/>
                      <a:pt x="56757" y="126785"/>
                    </a:cubicBezTo>
                    <a:cubicBezTo>
                      <a:pt x="58180" y="126015"/>
                      <a:pt x="59068" y="124523"/>
                      <a:pt x="59068" y="122904"/>
                    </a:cubicBezTo>
                    <a:lnTo>
                      <a:pt x="59068" y="4416"/>
                    </a:lnTo>
                    <a:cubicBezTo>
                      <a:pt x="59068" y="2782"/>
                      <a:pt x="58166" y="1280"/>
                      <a:pt x="56723" y="515"/>
                    </a:cubicBezTo>
                    <a:close/>
                  </a:path>
                </a:pathLst>
              </a:custGeom>
              <a:solidFill>
                <a:srgbClr val="001638"/>
              </a:solidFill>
              <a:ln w="9525" cap="flat">
                <a:solidFill>
                  <a:srgbClr val="001638"/>
                </a:solidFill>
                <a:prstDash val="solid"/>
                <a:miter/>
              </a:ln>
            </p:spPr>
            <p:txBody>
              <a:bodyPr rtlCol="0" anchor="ctr"/>
              <a:lstStyle/>
              <a:p>
                <a:endParaRPr/>
              </a:p>
            </p:txBody>
          </p:sp>
          <p:sp>
            <p:nvSpPr>
              <p:cNvPr id="57" name="Forma Livre 27">
                <a:extLst>
                  <a:ext uri="{FF2B5EF4-FFF2-40B4-BE49-F238E27FC236}">
                    <a16:creationId xmlns:a16="http://schemas.microsoft.com/office/drawing/2014/main" id="{C475B32D-D44B-EFB3-CF28-85E9ED5991A7}"/>
                  </a:ext>
                </a:extLst>
              </p:cNvPr>
              <p:cNvSpPr/>
              <p:nvPr/>
            </p:nvSpPr>
            <p:spPr>
              <a:xfrm>
                <a:off x="3901666" y="845554"/>
                <a:ext cx="48416" cy="47690"/>
              </a:xfrm>
              <a:custGeom>
                <a:avLst/>
                <a:gdLst>
                  <a:gd name="connsiteX0" fmla="*/ 28923 w 48416"/>
                  <a:gd name="connsiteY0" fmla="*/ 8833 h 47690"/>
                  <a:gd name="connsiteX1" fmla="*/ 39585 w 48416"/>
                  <a:gd name="connsiteY1" fmla="*/ 20629 h 47690"/>
                  <a:gd name="connsiteX2" fmla="*/ 39585 w 48416"/>
                  <a:gd name="connsiteY2" fmla="*/ 47691 h 47690"/>
                  <a:gd name="connsiteX3" fmla="*/ 41523 w 48416"/>
                  <a:gd name="connsiteY3" fmla="*/ 44035 h 47690"/>
                  <a:gd name="connsiteX4" fmla="*/ 48417 w 48416"/>
                  <a:gd name="connsiteY4" fmla="*/ 39364 h 47690"/>
                  <a:gd name="connsiteX5" fmla="*/ 48417 w 48416"/>
                  <a:gd name="connsiteY5" fmla="*/ 20629 h 47690"/>
                  <a:gd name="connsiteX6" fmla="*/ 28923 w 48416"/>
                  <a:gd name="connsiteY6" fmla="*/ 0 h 47690"/>
                  <a:gd name="connsiteX7" fmla="*/ 3469 w 48416"/>
                  <a:gd name="connsiteY7" fmla="*/ 0 h 47690"/>
                  <a:gd name="connsiteX8" fmla="*/ 0 w 48416"/>
                  <a:gd name="connsiteY8" fmla="*/ 8833 h 47690"/>
                  <a:gd name="connsiteX9" fmla="*/ 28923 w 48416"/>
                  <a:gd name="connsiteY9" fmla="*/ 8833 h 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6" h="47690">
                    <a:moveTo>
                      <a:pt x="28923" y="8833"/>
                    </a:moveTo>
                    <a:cubicBezTo>
                      <a:pt x="34801" y="8833"/>
                      <a:pt x="39585" y="14122"/>
                      <a:pt x="39585" y="20629"/>
                    </a:cubicBezTo>
                    <a:lnTo>
                      <a:pt x="39585" y="47691"/>
                    </a:lnTo>
                    <a:cubicBezTo>
                      <a:pt x="39585" y="46228"/>
                      <a:pt x="40311" y="44854"/>
                      <a:pt x="41523" y="44035"/>
                    </a:cubicBezTo>
                    <a:lnTo>
                      <a:pt x="48417" y="39364"/>
                    </a:lnTo>
                    <a:lnTo>
                      <a:pt x="48417" y="20629"/>
                    </a:lnTo>
                    <a:cubicBezTo>
                      <a:pt x="48417" y="9254"/>
                      <a:pt x="39673" y="0"/>
                      <a:pt x="28923" y="0"/>
                    </a:cubicBezTo>
                    <a:lnTo>
                      <a:pt x="3469" y="0"/>
                    </a:lnTo>
                    <a:lnTo>
                      <a:pt x="0" y="8833"/>
                    </a:lnTo>
                    <a:lnTo>
                      <a:pt x="28923" y="8833"/>
                    </a:lnTo>
                    <a:close/>
                  </a:path>
                </a:pathLst>
              </a:custGeom>
              <a:solidFill>
                <a:srgbClr val="001638"/>
              </a:solidFill>
              <a:ln w="9525" cap="flat">
                <a:solidFill>
                  <a:srgbClr val="001638"/>
                </a:solidFill>
                <a:prstDash val="solid"/>
                <a:miter/>
              </a:ln>
            </p:spPr>
            <p:txBody>
              <a:bodyPr rtlCol="0" anchor="ctr"/>
              <a:lstStyle/>
              <a:p>
                <a:endParaRPr/>
              </a:p>
            </p:txBody>
          </p:sp>
          <p:sp>
            <p:nvSpPr>
              <p:cNvPr id="58" name="Forma Livre 28">
                <a:extLst>
                  <a:ext uri="{FF2B5EF4-FFF2-40B4-BE49-F238E27FC236}">
                    <a16:creationId xmlns:a16="http://schemas.microsoft.com/office/drawing/2014/main" id="{1997D515-A4AB-8629-3479-F8D2A8345F65}"/>
                  </a:ext>
                </a:extLst>
              </p:cNvPr>
              <p:cNvSpPr/>
              <p:nvPr/>
            </p:nvSpPr>
            <p:spPr>
              <a:xfrm>
                <a:off x="3772520" y="845549"/>
                <a:ext cx="105772" cy="133797"/>
              </a:xfrm>
              <a:custGeom>
                <a:avLst/>
                <a:gdLst>
                  <a:gd name="connsiteX0" fmla="*/ 19493 w 105772"/>
                  <a:gd name="connsiteY0" fmla="*/ 124965 h 133797"/>
                  <a:gd name="connsiteX1" fmla="*/ 8832 w 105772"/>
                  <a:gd name="connsiteY1" fmla="*/ 113169 h 133797"/>
                  <a:gd name="connsiteX2" fmla="*/ 8832 w 105772"/>
                  <a:gd name="connsiteY2" fmla="*/ 20629 h 133797"/>
                  <a:gd name="connsiteX3" fmla="*/ 19493 w 105772"/>
                  <a:gd name="connsiteY3" fmla="*/ 8833 h 133797"/>
                  <a:gd name="connsiteX4" fmla="*/ 102299 w 105772"/>
                  <a:gd name="connsiteY4" fmla="*/ 8833 h 133797"/>
                  <a:gd name="connsiteX5" fmla="*/ 105773 w 105772"/>
                  <a:gd name="connsiteY5" fmla="*/ 0 h 133797"/>
                  <a:gd name="connsiteX6" fmla="*/ 19493 w 105772"/>
                  <a:gd name="connsiteY6" fmla="*/ 0 h 133797"/>
                  <a:gd name="connsiteX7" fmla="*/ 0 w 105772"/>
                  <a:gd name="connsiteY7" fmla="*/ 20629 h 133797"/>
                  <a:gd name="connsiteX8" fmla="*/ 0 w 105772"/>
                  <a:gd name="connsiteY8" fmla="*/ 113169 h 133797"/>
                  <a:gd name="connsiteX9" fmla="*/ 19493 w 105772"/>
                  <a:gd name="connsiteY9" fmla="*/ 133798 h 133797"/>
                  <a:gd name="connsiteX10" fmla="*/ 53146 w 105772"/>
                  <a:gd name="connsiteY10" fmla="*/ 133798 h 133797"/>
                  <a:gd name="connsiteX11" fmla="*/ 56620 w 105772"/>
                  <a:gd name="connsiteY11" fmla="*/ 124965 h 133797"/>
                  <a:gd name="connsiteX12" fmla="*/ 19493 w 105772"/>
                  <a:gd name="connsiteY12" fmla="*/ 124965 h 133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72" h="133797">
                    <a:moveTo>
                      <a:pt x="19493" y="124965"/>
                    </a:moveTo>
                    <a:cubicBezTo>
                      <a:pt x="13615" y="124965"/>
                      <a:pt x="8832" y="119676"/>
                      <a:pt x="8832" y="113169"/>
                    </a:cubicBezTo>
                    <a:lnTo>
                      <a:pt x="8832" y="20629"/>
                    </a:lnTo>
                    <a:cubicBezTo>
                      <a:pt x="8832" y="14122"/>
                      <a:pt x="13615" y="8833"/>
                      <a:pt x="19493" y="8833"/>
                    </a:cubicBezTo>
                    <a:lnTo>
                      <a:pt x="102299" y="8833"/>
                    </a:lnTo>
                    <a:lnTo>
                      <a:pt x="105773" y="0"/>
                    </a:lnTo>
                    <a:lnTo>
                      <a:pt x="19493" y="0"/>
                    </a:lnTo>
                    <a:cubicBezTo>
                      <a:pt x="8743" y="0"/>
                      <a:pt x="0" y="9254"/>
                      <a:pt x="0" y="20629"/>
                    </a:cubicBezTo>
                    <a:lnTo>
                      <a:pt x="0" y="113169"/>
                    </a:lnTo>
                    <a:cubicBezTo>
                      <a:pt x="0" y="124543"/>
                      <a:pt x="8743" y="133798"/>
                      <a:pt x="19493" y="133798"/>
                    </a:cubicBezTo>
                    <a:lnTo>
                      <a:pt x="53146" y="133798"/>
                    </a:lnTo>
                    <a:lnTo>
                      <a:pt x="56620" y="124965"/>
                    </a:lnTo>
                    <a:lnTo>
                      <a:pt x="19493" y="124965"/>
                    </a:lnTo>
                    <a:close/>
                  </a:path>
                </a:pathLst>
              </a:custGeom>
              <a:solidFill>
                <a:srgbClr val="001638"/>
              </a:solidFill>
              <a:ln w="9525" cap="flat">
                <a:solidFill>
                  <a:srgbClr val="001638"/>
                </a:solidFill>
                <a:prstDash val="solid"/>
                <a:miter/>
              </a:ln>
            </p:spPr>
            <p:txBody>
              <a:bodyPr rtlCol="0" anchor="ctr"/>
              <a:lstStyle/>
              <a:p>
                <a:endParaRPr/>
              </a:p>
            </p:txBody>
          </p:sp>
          <p:sp>
            <p:nvSpPr>
              <p:cNvPr id="59" name="Forma Livre 29">
                <a:extLst>
                  <a:ext uri="{FF2B5EF4-FFF2-40B4-BE49-F238E27FC236}">
                    <a16:creationId xmlns:a16="http://schemas.microsoft.com/office/drawing/2014/main" id="{3B7F7899-A3F8-9C61-9CBC-A43AB75862EE}"/>
                  </a:ext>
                </a:extLst>
              </p:cNvPr>
              <p:cNvSpPr/>
              <p:nvPr/>
            </p:nvSpPr>
            <p:spPr>
              <a:xfrm>
                <a:off x="3852558" y="933266"/>
                <a:ext cx="97529" cy="46081"/>
              </a:xfrm>
              <a:custGeom>
                <a:avLst/>
                <a:gdLst>
                  <a:gd name="connsiteX0" fmla="*/ 88693 w 97529"/>
                  <a:gd name="connsiteY0" fmla="*/ 0 h 46081"/>
                  <a:gd name="connsiteX1" fmla="*/ 88693 w 97529"/>
                  <a:gd name="connsiteY1" fmla="*/ 25452 h 46081"/>
                  <a:gd name="connsiteX2" fmla="*/ 78032 w 97529"/>
                  <a:gd name="connsiteY2" fmla="*/ 37249 h 46081"/>
                  <a:gd name="connsiteX3" fmla="*/ 3469 w 97529"/>
                  <a:gd name="connsiteY3" fmla="*/ 37249 h 46081"/>
                  <a:gd name="connsiteX4" fmla="*/ 0 w 97529"/>
                  <a:gd name="connsiteY4" fmla="*/ 46081 h 46081"/>
                  <a:gd name="connsiteX5" fmla="*/ 78037 w 97529"/>
                  <a:gd name="connsiteY5" fmla="*/ 46081 h 46081"/>
                  <a:gd name="connsiteX6" fmla="*/ 97530 w 97529"/>
                  <a:gd name="connsiteY6" fmla="*/ 25452 h 46081"/>
                  <a:gd name="connsiteX7" fmla="*/ 97530 w 97529"/>
                  <a:gd name="connsiteY7" fmla="*/ 8141 h 46081"/>
                  <a:gd name="connsiteX8" fmla="*/ 90705 w 97529"/>
                  <a:gd name="connsiteY8" fmla="*/ 3700 h 46081"/>
                  <a:gd name="connsiteX9" fmla="*/ 88693 w 97529"/>
                  <a:gd name="connsiteY9" fmla="*/ 0 h 4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29" h="46081">
                    <a:moveTo>
                      <a:pt x="88693" y="0"/>
                    </a:moveTo>
                    <a:lnTo>
                      <a:pt x="88693" y="25452"/>
                    </a:lnTo>
                    <a:cubicBezTo>
                      <a:pt x="88693" y="31959"/>
                      <a:pt x="83910" y="37249"/>
                      <a:pt x="78032" y="37249"/>
                    </a:cubicBezTo>
                    <a:lnTo>
                      <a:pt x="3469" y="37249"/>
                    </a:lnTo>
                    <a:lnTo>
                      <a:pt x="0" y="46081"/>
                    </a:lnTo>
                    <a:lnTo>
                      <a:pt x="78037" y="46081"/>
                    </a:lnTo>
                    <a:cubicBezTo>
                      <a:pt x="88787" y="46081"/>
                      <a:pt x="97530" y="36827"/>
                      <a:pt x="97530" y="25452"/>
                    </a:cubicBezTo>
                    <a:lnTo>
                      <a:pt x="97530" y="8141"/>
                    </a:lnTo>
                    <a:lnTo>
                      <a:pt x="90705" y="3700"/>
                    </a:lnTo>
                    <a:cubicBezTo>
                      <a:pt x="89449" y="2890"/>
                      <a:pt x="88693" y="1497"/>
                      <a:pt x="88693" y="0"/>
                    </a:cubicBezTo>
                    <a:close/>
                  </a:path>
                </a:pathLst>
              </a:custGeom>
              <a:solidFill>
                <a:srgbClr val="001638"/>
              </a:solidFill>
              <a:ln w="9525" cap="flat">
                <a:solidFill>
                  <a:srgbClr val="001638"/>
                </a:solidFill>
                <a:prstDash val="solid"/>
                <a:miter/>
              </a:ln>
            </p:spPr>
            <p:txBody>
              <a:bodyPr rtlCol="0" anchor="ctr"/>
              <a:lstStyle/>
              <a:p>
                <a:endParaRPr/>
              </a:p>
            </p:txBody>
          </p:sp>
          <p:sp>
            <p:nvSpPr>
              <p:cNvPr id="60" name="Forma Livre 30">
                <a:extLst>
                  <a:ext uri="{FF2B5EF4-FFF2-40B4-BE49-F238E27FC236}">
                    <a16:creationId xmlns:a16="http://schemas.microsoft.com/office/drawing/2014/main" id="{99B12852-89B7-2075-829F-4257EA6AE1C5}"/>
                  </a:ext>
                </a:extLst>
              </p:cNvPr>
              <p:cNvSpPr/>
              <p:nvPr/>
            </p:nvSpPr>
            <p:spPr>
              <a:xfrm>
                <a:off x="3941252" y="884917"/>
                <a:ext cx="8831" cy="56493"/>
              </a:xfrm>
              <a:custGeom>
                <a:avLst/>
                <a:gdLst>
                  <a:gd name="connsiteX0" fmla="*/ 8832 w 8831"/>
                  <a:gd name="connsiteY0" fmla="*/ 10668 h 56493"/>
                  <a:gd name="connsiteX1" fmla="*/ 8832 w 8831"/>
                  <a:gd name="connsiteY1" fmla="*/ 0 h 56493"/>
                  <a:gd name="connsiteX2" fmla="*/ 1938 w 8831"/>
                  <a:gd name="connsiteY2" fmla="*/ 4671 h 56493"/>
                  <a:gd name="connsiteX3" fmla="*/ 0 w 8831"/>
                  <a:gd name="connsiteY3" fmla="*/ 8327 h 56493"/>
                  <a:gd name="connsiteX4" fmla="*/ 0 w 8831"/>
                  <a:gd name="connsiteY4" fmla="*/ 48353 h 56493"/>
                  <a:gd name="connsiteX5" fmla="*/ 2007 w 8831"/>
                  <a:gd name="connsiteY5" fmla="*/ 52053 h 56493"/>
                  <a:gd name="connsiteX6" fmla="*/ 8832 w 8831"/>
                  <a:gd name="connsiteY6" fmla="*/ 56494 h 56493"/>
                  <a:gd name="connsiteX7" fmla="*/ 8832 w 8831"/>
                  <a:gd name="connsiteY7" fmla="*/ 45959 h 56493"/>
                  <a:gd name="connsiteX8" fmla="*/ 8832 w 8831"/>
                  <a:gd name="connsiteY8" fmla="*/ 10668 h 5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31" h="56493">
                    <a:moveTo>
                      <a:pt x="8832" y="10668"/>
                    </a:moveTo>
                    <a:lnTo>
                      <a:pt x="8832" y="0"/>
                    </a:lnTo>
                    <a:lnTo>
                      <a:pt x="1938" y="4671"/>
                    </a:lnTo>
                    <a:cubicBezTo>
                      <a:pt x="726" y="5491"/>
                      <a:pt x="0" y="6865"/>
                      <a:pt x="0" y="8327"/>
                    </a:cubicBezTo>
                    <a:lnTo>
                      <a:pt x="0" y="48353"/>
                    </a:lnTo>
                    <a:cubicBezTo>
                      <a:pt x="0" y="49850"/>
                      <a:pt x="755" y="51238"/>
                      <a:pt x="2007" y="52053"/>
                    </a:cubicBezTo>
                    <a:lnTo>
                      <a:pt x="8832" y="56494"/>
                    </a:lnTo>
                    <a:lnTo>
                      <a:pt x="8832" y="45959"/>
                    </a:lnTo>
                    <a:lnTo>
                      <a:pt x="8832" y="10668"/>
                    </a:lnTo>
                    <a:close/>
                  </a:path>
                </a:pathLst>
              </a:custGeom>
              <a:solidFill>
                <a:srgbClr val="001638"/>
              </a:solidFill>
              <a:ln w="9525" cap="flat">
                <a:solidFill>
                  <a:srgbClr val="001638"/>
                </a:solidFill>
                <a:prstDash val="solid"/>
                <a:miter/>
              </a:ln>
            </p:spPr>
            <p:txBody>
              <a:bodyPr rtlCol="0" anchor="ctr"/>
              <a:lstStyle/>
              <a:p>
                <a:endParaRPr/>
              </a:p>
            </p:txBody>
          </p:sp>
          <p:sp>
            <p:nvSpPr>
              <p:cNvPr id="61" name="Forma Livre 31">
                <a:extLst>
                  <a:ext uri="{FF2B5EF4-FFF2-40B4-BE49-F238E27FC236}">
                    <a16:creationId xmlns:a16="http://schemas.microsoft.com/office/drawing/2014/main" id="{DD6F01F8-D8E9-1703-DA9C-522A9395D0B6}"/>
                  </a:ext>
                </a:extLst>
              </p:cNvPr>
              <p:cNvSpPr/>
              <p:nvPr/>
            </p:nvSpPr>
            <p:spPr>
              <a:xfrm>
                <a:off x="3895160" y="869696"/>
                <a:ext cx="32873" cy="8832"/>
              </a:xfrm>
              <a:custGeom>
                <a:avLst/>
                <a:gdLst>
                  <a:gd name="connsiteX0" fmla="*/ 28457 w 32873"/>
                  <a:gd name="connsiteY0" fmla="*/ 0 h 8832"/>
                  <a:gd name="connsiteX1" fmla="*/ 4416 w 32873"/>
                  <a:gd name="connsiteY1" fmla="*/ 0 h 8832"/>
                  <a:gd name="connsiteX2" fmla="*/ 0 w 32873"/>
                  <a:gd name="connsiteY2" fmla="*/ 4416 h 8832"/>
                  <a:gd name="connsiteX3" fmla="*/ 4416 w 32873"/>
                  <a:gd name="connsiteY3" fmla="*/ 8833 h 8832"/>
                  <a:gd name="connsiteX4" fmla="*/ 28457 w 32873"/>
                  <a:gd name="connsiteY4" fmla="*/ 8833 h 8832"/>
                  <a:gd name="connsiteX5" fmla="*/ 32873 w 32873"/>
                  <a:gd name="connsiteY5" fmla="*/ 4416 h 8832"/>
                  <a:gd name="connsiteX6" fmla="*/ 28457 w 32873"/>
                  <a:gd name="connsiteY6" fmla="*/ 0 h 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73" h="8832">
                    <a:moveTo>
                      <a:pt x="28457" y="0"/>
                    </a:moveTo>
                    <a:lnTo>
                      <a:pt x="4416" y="0"/>
                    </a:lnTo>
                    <a:cubicBezTo>
                      <a:pt x="1977" y="0"/>
                      <a:pt x="0" y="1978"/>
                      <a:pt x="0" y="4416"/>
                    </a:cubicBezTo>
                    <a:cubicBezTo>
                      <a:pt x="0" y="6855"/>
                      <a:pt x="1977" y="8833"/>
                      <a:pt x="4416" y="8833"/>
                    </a:cubicBezTo>
                    <a:lnTo>
                      <a:pt x="28457" y="8833"/>
                    </a:lnTo>
                    <a:cubicBezTo>
                      <a:pt x="30896" y="8833"/>
                      <a:pt x="32873" y="6855"/>
                      <a:pt x="32873" y="4416"/>
                    </a:cubicBezTo>
                    <a:cubicBezTo>
                      <a:pt x="32873" y="1978"/>
                      <a:pt x="30896" y="0"/>
                      <a:pt x="28457" y="0"/>
                    </a:cubicBezTo>
                    <a:close/>
                  </a:path>
                </a:pathLst>
              </a:custGeom>
              <a:solidFill>
                <a:srgbClr val="001638"/>
              </a:solidFill>
              <a:ln w="9525" cap="flat">
                <a:noFill/>
                <a:prstDash val="solid"/>
                <a:miter/>
              </a:ln>
            </p:spPr>
            <p:txBody>
              <a:bodyPr rtlCol="0" anchor="ctr"/>
              <a:lstStyle/>
              <a:p>
                <a:endParaRPr/>
              </a:p>
            </p:txBody>
          </p:sp>
        </p:grpSp>
        <p:grpSp>
          <p:nvGrpSpPr>
            <p:cNvPr id="51" name="Gráfico 2">
              <a:extLst>
                <a:ext uri="{FF2B5EF4-FFF2-40B4-BE49-F238E27FC236}">
                  <a16:creationId xmlns:a16="http://schemas.microsoft.com/office/drawing/2014/main" id="{8B12E948-5ED6-691F-57E4-2B90980A0299}"/>
                </a:ext>
              </a:extLst>
            </p:cNvPr>
            <p:cNvGrpSpPr/>
            <p:nvPr/>
          </p:nvGrpSpPr>
          <p:grpSpPr>
            <a:xfrm>
              <a:off x="4393660" y="1919432"/>
              <a:ext cx="774846" cy="279617"/>
              <a:chOff x="3145970" y="763990"/>
              <a:chExt cx="774846" cy="279617"/>
            </a:xfrm>
          </p:grpSpPr>
          <p:sp>
            <p:nvSpPr>
              <p:cNvPr id="52" name="Forma Livre 22">
                <a:extLst>
                  <a:ext uri="{FF2B5EF4-FFF2-40B4-BE49-F238E27FC236}">
                    <a16:creationId xmlns:a16="http://schemas.microsoft.com/office/drawing/2014/main" id="{D9F5EF7F-E06D-0726-00C1-22CCC2068A63}"/>
                  </a:ext>
                </a:extLst>
              </p:cNvPr>
              <p:cNvSpPr/>
              <p:nvPr/>
            </p:nvSpPr>
            <p:spPr>
              <a:xfrm>
                <a:off x="3481166"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53" name="Forma Livre 23">
                <a:extLst>
                  <a:ext uri="{FF2B5EF4-FFF2-40B4-BE49-F238E27FC236}">
                    <a16:creationId xmlns:a16="http://schemas.microsoft.com/office/drawing/2014/main" id="{86A4A6FF-A947-50C5-DBC1-93189803A907}"/>
                  </a:ext>
                </a:extLst>
              </p:cNvPr>
              <p:cNvSpPr/>
              <p:nvPr/>
            </p:nvSpPr>
            <p:spPr>
              <a:xfrm>
                <a:off x="3814018" y="771753"/>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54" name="Forma Livre 24">
                <a:extLst>
                  <a:ext uri="{FF2B5EF4-FFF2-40B4-BE49-F238E27FC236}">
                    <a16:creationId xmlns:a16="http://schemas.microsoft.com/office/drawing/2014/main" id="{819F8965-10AC-69B5-24B2-EC2BEA29AD0A}"/>
                  </a:ext>
                </a:extLst>
              </p:cNvPr>
              <p:cNvSpPr/>
              <p:nvPr/>
            </p:nvSpPr>
            <p:spPr>
              <a:xfrm>
                <a:off x="3145970"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grpSp>
      </p:grpSp>
      <p:sp>
        <p:nvSpPr>
          <p:cNvPr id="3" name="Rectangle 2" hidden="1">
            <a:extLst>
              <a:ext uri="{FF2B5EF4-FFF2-40B4-BE49-F238E27FC236}">
                <a16:creationId xmlns:a16="http://schemas.microsoft.com/office/drawing/2014/main" id="{F6F45040-1D21-4BF6-ABEB-F7F7FB3D6E6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 name="Date Placeholder 3">
            <a:extLst>
              <a:ext uri="{FF2B5EF4-FFF2-40B4-BE49-F238E27FC236}">
                <a16:creationId xmlns:a16="http://schemas.microsoft.com/office/drawing/2014/main" id="{F1CC8597-7BF6-CE3D-AB2A-EA20056CCA99}"/>
              </a:ext>
            </a:extLst>
          </p:cNvPr>
          <p:cNvSpPr>
            <a:spLocks noGrp="1"/>
          </p:cNvSpPr>
          <p:nvPr>
            <p:ph type="dt" sz="half" idx="10"/>
          </p:nvPr>
        </p:nvSpPr>
        <p:spPr/>
        <p:txBody>
          <a:bodyPr/>
          <a:lstStyle/>
          <a:p>
            <a:fld id="{C61FC922-CA06-4C9B-A135-D8FE06D94AB2}" type="datetime1">
              <a:rPr lang="en-US"/>
              <a:t>11/16/2024</a:t>
            </a:fld>
            <a:endParaRPr lang="en-US" dirty="0"/>
          </a:p>
        </p:txBody>
      </p:sp>
      <p:sp>
        <p:nvSpPr>
          <p:cNvPr id="5" name="Footer Placeholder 4">
            <a:extLst>
              <a:ext uri="{FF2B5EF4-FFF2-40B4-BE49-F238E27FC236}">
                <a16:creationId xmlns:a16="http://schemas.microsoft.com/office/drawing/2014/main" id="{765EBCDD-1653-F924-D137-7328A1E59F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A0786A0-F12D-6650-A6F4-B5C44C34A8E2}"/>
              </a:ext>
            </a:extLst>
          </p:cNvPr>
          <p:cNvSpPr>
            <a:spLocks noGrp="1"/>
          </p:cNvSpPr>
          <p:nvPr>
            <p:ph type="sldNum" sz="quarter" idx="12"/>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310244265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SCLAIMER | Secret Information">
    <p:spTree>
      <p:nvGrpSpPr>
        <p:cNvPr id="1" name=""/>
        <p:cNvGrpSpPr/>
        <p:nvPr/>
      </p:nvGrpSpPr>
      <p:grpSpPr>
        <a:xfrm>
          <a:off x="0" y="0"/>
          <a:ext cx="0" cy="0"/>
          <a:chOff x="0" y="0"/>
          <a:chExt cx="0" cy="0"/>
        </a:xfrm>
      </p:grpSpPr>
      <p:sp>
        <p:nvSpPr>
          <p:cNvPr id="2" name="Forma Livre: Forma 61">
            <a:extLst>
              <a:ext uri="{FF2B5EF4-FFF2-40B4-BE49-F238E27FC236}">
                <a16:creationId xmlns:a16="http://schemas.microsoft.com/office/drawing/2014/main" id="{B05D43A0-C589-18C9-821C-60267F476DF6}"/>
              </a:ext>
            </a:extLst>
          </p:cNvPr>
          <p:cNvSpPr/>
          <p:nvPr userDrawn="1"/>
        </p:nvSpPr>
        <p:spPr>
          <a:xfrm flipH="1">
            <a:off x="11827565" y="234253"/>
            <a:ext cx="160907" cy="160883"/>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149E9"/>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sz="675" dirty="0">
              <a:latin typeface="+mn-lt"/>
            </a:endParaRPr>
          </a:p>
        </p:txBody>
      </p:sp>
      <p:grpSp>
        <p:nvGrpSpPr>
          <p:cNvPr id="3" name="Agrupar 1">
            <a:extLst>
              <a:ext uri="{FF2B5EF4-FFF2-40B4-BE49-F238E27FC236}">
                <a16:creationId xmlns:a16="http://schemas.microsoft.com/office/drawing/2014/main" id="{40C8E01C-E132-9F47-134E-DAAF512BF280}"/>
              </a:ext>
            </a:extLst>
          </p:cNvPr>
          <p:cNvGrpSpPr/>
          <p:nvPr userDrawn="1"/>
        </p:nvGrpSpPr>
        <p:grpSpPr>
          <a:xfrm>
            <a:off x="4769029" y="2746076"/>
            <a:ext cx="5191138" cy="1365848"/>
            <a:chOff x="3395229" y="1918772"/>
            <a:chExt cx="5191138" cy="1365848"/>
          </a:xfrm>
        </p:grpSpPr>
        <p:sp>
          <p:nvSpPr>
            <p:cNvPr id="4" name="maps graphic">
              <a:extLst>
                <a:ext uri="{FF2B5EF4-FFF2-40B4-BE49-F238E27FC236}">
                  <a16:creationId xmlns:a16="http://schemas.microsoft.com/office/drawing/2014/main" id="{DB5559D3-8FA3-5DF8-3454-164ED26B21E7}"/>
                </a:ext>
              </a:extLst>
            </p:cNvPr>
            <p:cNvSpPr txBox="1"/>
            <p:nvPr/>
          </p:nvSpPr>
          <p:spPr>
            <a:xfrm>
              <a:off x="3395229" y="1918772"/>
              <a:ext cx="4157185" cy="298864"/>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val="1"/>
              </a:ext>
            </a:extLst>
          </p:spPr>
          <p:txBody>
            <a:bodyPr wrap="square" lIns="19050" tIns="19050" rIns="19050" bIns="19050">
              <a:spAutoFit/>
            </a:bodyPr>
            <a:lstStyle/>
            <a:p>
              <a:pPr>
                <a:defRPr sz="5000" b="1" cap="all">
                  <a:latin typeface="Arial Narrow"/>
                  <a:ea typeface="Arial Narrow"/>
                  <a:cs typeface="Arial Narrow"/>
                  <a:sym typeface="Arial Narrow"/>
                </a:defRPr>
              </a:pPr>
              <a:r>
                <a:rPr lang="pt-PT" sz="1880" b="1" cap="all">
                  <a:solidFill>
                    <a:srgbClr val="001436"/>
                  </a:solidFill>
                  <a:sym typeface="Arial Narrow"/>
                </a:rPr>
                <a:t>Disclaimer</a:t>
              </a:r>
              <a:endParaRPr sz="1880" dirty="0">
                <a:solidFill>
                  <a:srgbClr val="001436"/>
                </a:solidFill>
              </a:endParaRPr>
            </a:p>
          </p:txBody>
        </p:sp>
        <p:sp>
          <p:nvSpPr>
            <p:cNvPr id="5"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B5917B55-CFB7-B8EF-8461-705C5C01345B}"/>
                </a:ext>
              </a:extLst>
            </p:cNvPr>
            <p:cNvSpPr txBox="1"/>
            <p:nvPr/>
          </p:nvSpPr>
          <p:spPr>
            <a:xfrm>
              <a:off x="3395230" y="2339810"/>
              <a:ext cx="5191137" cy="944810"/>
            </a:xfrm>
            <a:prstGeom prst="rect">
              <a:avLst/>
            </a:prstGeom>
            <a:ln w="12700">
              <a:miter lim="400000"/>
            </a:ln>
            <a:extLst>
              <a:ext uri="{C572A759-6A51-4108-AA02-DFA0A04FC94B}">
                <ma14:wrappingTextBoxFlag xmlns="" xmlns:a16="http://schemas.microsoft.com/office/drawing/2014/main" xmlns:p14="http://schemas.microsoft.com/office/powerpoint/2010/main" xmlns:p15="http://schemas.microsoft.com/office/powerpoint/2012/main" xmlns:ma14="http://schemas.microsoft.com/office/mac/drawingml/2011/main" xmlns:a14="http://schemas.microsoft.com/office/drawing/2010/main" xmlns:m="http://schemas.openxmlformats.org/officeDocument/2006/math" val="1"/>
              </a:ext>
            </a:extLst>
          </p:spPr>
          <p:txBody>
            <a:bodyPr wrap="square" lIns="19050" tIns="19050" rIns="19050" bIns="19050">
              <a:spAutoFit/>
            </a:bodyPr>
            <a:lstStyle>
              <a:lvl1pPr>
                <a:lnSpc>
                  <a:spcPct val="120000"/>
                </a:lnSpc>
                <a:defRPr sz="2500">
                  <a:solidFill>
                    <a:srgbClr val="808080"/>
                  </a:solidFill>
                  <a:latin typeface="Arial"/>
                  <a:ea typeface="Arial"/>
                  <a:cs typeface="Arial"/>
                  <a:sym typeface="Arial"/>
                </a:defRPr>
              </a:lvl1pPr>
            </a:lstStyle>
            <a:p>
              <a:r>
                <a:rPr lang="pt-BR" sz="1000" b="1" dirty="0">
                  <a:solidFill>
                    <a:srgbClr val="B01D23"/>
                  </a:solidFill>
                </a:rPr>
                <a:t>SECRET INFORMATION:</a:t>
              </a:r>
              <a:r>
                <a:rPr lang="pt-BR" sz="1000" b="1" dirty="0"/>
                <a:t> </a:t>
              </a:r>
              <a:r>
                <a:rPr lang="en-US" sz="1000" dirty="0"/>
                <a:t>This presentation contains strategic and highly sensitive information, therefore, it must be limited to the designated employees (Embraer, third parties, partners, customers, etc.) and must not be disclosed in its partial or total form in any format to unauthorized persons. Screenshots or photos of this material are not allowed. </a:t>
              </a:r>
              <a:br>
                <a:rPr lang="en-US" sz="1000" dirty="0"/>
              </a:br>
              <a:r>
                <a:rPr lang="en-US" sz="1000" dirty="0"/>
                <a:t>If needed, a copy of this content must be requested to the responsible person in Embraer.</a:t>
              </a:r>
              <a:endParaRPr lang="pt-BR" sz="1000" dirty="0"/>
            </a:p>
          </p:txBody>
        </p:sp>
      </p:grpSp>
      <p:sp>
        <p:nvSpPr>
          <p:cNvPr id="6" name="Linha">
            <a:extLst>
              <a:ext uri="{FF2B5EF4-FFF2-40B4-BE49-F238E27FC236}">
                <a16:creationId xmlns:a16="http://schemas.microsoft.com/office/drawing/2014/main" id="{75B0EB8D-1611-72A7-D2B6-AF217D78704D}"/>
              </a:ext>
            </a:extLst>
          </p:cNvPr>
          <p:cNvSpPr/>
          <p:nvPr userDrawn="1"/>
        </p:nvSpPr>
        <p:spPr>
          <a:xfrm flipV="1">
            <a:off x="3993378" y="2582398"/>
            <a:ext cx="585866" cy="1693204"/>
          </a:xfrm>
          <a:prstGeom prst="line">
            <a:avLst/>
          </a:prstGeom>
          <a:ln w="12700">
            <a:solidFill>
              <a:srgbClr val="CCD5D9"/>
            </a:solidFill>
            <a:miter lim="400000"/>
          </a:ln>
        </p:spPr>
        <p:txBody>
          <a:bodyPr lIns="19050" tIns="19050" rIns="19050" bIns="19050" anchor="ctr"/>
          <a:lstStyle/>
          <a:p>
            <a:endParaRPr sz="675"/>
          </a:p>
        </p:txBody>
      </p:sp>
      <p:pic>
        <p:nvPicPr>
          <p:cNvPr id="7" name="Picture 6">
            <a:extLst>
              <a:ext uri="{FF2B5EF4-FFF2-40B4-BE49-F238E27FC236}">
                <a16:creationId xmlns:a16="http://schemas.microsoft.com/office/drawing/2014/main" id="{D100F8C4-4A9D-4617-A959-A6108842A5C2}"/>
              </a:ext>
            </a:extLst>
          </p:cNvPr>
          <p:cNvPicPr>
            <a:picLocks noChangeAspect="1"/>
          </p:cNvPicPr>
          <p:nvPr userDrawn="1"/>
        </p:nvPicPr>
        <p:blipFill>
          <a:blip r:embed="rId3"/>
          <a:stretch>
            <a:fillRect/>
          </a:stretch>
        </p:blipFill>
        <p:spPr>
          <a:xfrm>
            <a:off x="2812441" y="2854719"/>
            <a:ext cx="1143000" cy="1143000"/>
          </a:xfrm>
          <a:prstGeom prst="rect">
            <a:avLst/>
          </a:prstGeom>
        </p:spPr>
      </p:pic>
      <p:grpSp>
        <p:nvGrpSpPr>
          <p:cNvPr id="8" name="Agrupar 4">
            <a:extLst>
              <a:ext uri="{FF2B5EF4-FFF2-40B4-BE49-F238E27FC236}">
                <a16:creationId xmlns:a16="http://schemas.microsoft.com/office/drawing/2014/main" id="{09153AEF-66A8-EF19-228D-4DD98688C6F9}"/>
              </a:ext>
            </a:extLst>
          </p:cNvPr>
          <p:cNvGrpSpPr/>
          <p:nvPr userDrawn="1"/>
        </p:nvGrpSpPr>
        <p:grpSpPr>
          <a:xfrm>
            <a:off x="6176810" y="2743738"/>
            <a:ext cx="880256" cy="279617"/>
            <a:chOff x="4376585" y="1919432"/>
            <a:chExt cx="880256" cy="279617"/>
          </a:xfrm>
        </p:grpSpPr>
        <p:grpSp>
          <p:nvGrpSpPr>
            <p:cNvPr id="9" name="Agrupar 3">
              <a:extLst>
                <a:ext uri="{FF2B5EF4-FFF2-40B4-BE49-F238E27FC236}">
                  <a16:creationId xmlns:a16="http://schemas.microsoft.com/office/drawing/2014/main" id="{FB3FBB4D-D22F-0801-293A-96AF0AAD6F51}"/>
                </a:ext>
              </a:extLst>
            </p:cNvPr>
            <p:cNvGrpSpPr/>
            <p:nvPr/>
          </p:nvGrpSpPr>
          <p:grpSpPr>
            <a:xfrm>
              <a:off x="4376585" y="1953658"/>
              <a:ext cx="137835" cy="186498"/>
              <a:chOff x="2968804" y="3444018"/>
              <a:chExt cx="137835" cy="186498"/>
            </a:xfrm>
          </p:grpSpPr>
          <p:sp>
            <p:nvSpPr>
              <p:cNvPr id="31" name="Forma Livre 15">
                <a:extLst>
                  <a:ext uri="{FF2B5EF4-FFF2-40B4-BE49-F238E27FC236}">
                    <a16:creationId xmlns:a16="http://schemas.microsoft.com/office/drawing/2014/main" id="{5EE37604-367F-9414-6503-65976A63B369}"/>
                  </a:ext>
                </a:extLst>
              </p:cNvPr>
              <p:cNvSpPr/>
              <p:nvPr/>
            </p:nvSpPr>
            <p:spPr>
              <a:xfrm>
                <a:off x="2976915" y="3452135"/>
                <a:ext cx="85587" cy="170276"/>
              </a:xfrm>
              <a:custGeom>
                <a:avLst/>
                <a:gdLst>
                  <a:gd name="connsiteX0" fmla="*/ 20268 w 85587"/>
                  <a:gd name="connsiteY0" fmla="*/ 129730 h 170276"/>
                  <a:gd name="connsiteX1" fmla="*/ 16216 w 85587"/>
                  <a:gd name="connsiteY1" fmla="*/ 125677 h 170276"/>
                  <a:gd name="connsiteX2" fmla="*/ 20268 w 85587"/>
                  <a:gd name="connsiteY2" fmla="*/ 121624 h 170276"/>
                  <a:gd name="connsiteX3" fmla="*/ 37745 w 85587"/>
                  <a:gd name="connsiteY3" fmla="*/ 121624 h 170276"/>
                  <a:gd name="connsiteX4" fmla="*/ 44123 w 85587"/>
                  <a:gd name="connsiteY4" fmla="*/ 105406 h 170276"/>
                  <a:gd name="connsiteX5" fmla="*/ 20268 w 85587"/>
                  <a:gd name="connsiteY5" fmla="*/ 105406 h 170276"/>
                  <a:gd name="connsiteX6" fmla="*/ 16216 w 85587"/>
                  <a:gd name="connsiteY6" fmla="*/ 101353 h 170276"/>
                  <a:gd name="connsiteX7" fmla="*/ 20268 w 85587"/>
                  <a:gd name="connsiteY7" fmla="*/ 97300 h 170276"/>
                  <a:gd name="connsiteX8" fmla="*/ 47313 w 85587"/>
                  <a:gd name="connsiteY8" fmla="*/ 97300 h 170276"/>
                  <a:gd name="connsiteX9" fmla="*/ 53691 w 85587"/>
                  <a:gd name="connsiteY9" fmla="*/ 81082 h 170276"/>
                  <a:gd name="connsiteX10" fmla="*/ 20264 w 85587"/>
                  <a:gd name="connsiteY10" fmla="*/ 81082 h 170276"/>
                  <a:gd name="connsiteX11" fmla="*/ 16211 w 85587"/>
                  <a:gd name="connsiteY11" fmla="*/ 77029 h 170276"/>
                  <a:gd name="connsiteX12" fmla="*/ 20264 w 85587"/>
                  <a:gd name="connsiteY12" fmla="*/ 72976 h 170276"/>
                  <a:gd name="connsiteX13" fmla="*/ 56880 w 85587"/>
                  <a:gd name="connsiteY13" fmla="*/ 72976 h 170276"/>
                  <a:gd name="connsiteX14" fmla="*/ 85588 w 85587"/>
                  <a:gd name="connsiteY14" fmla="*/ 0 h 170276"/>
                  <a:gd name="connsiteX15" fmla="*/ 48642 w 85587"/>
                  <a:gd name="connsiteY15" fmla="*/ 0 h 170276"/>
                  <a:gd name="connsiteX16" fmla="*/ 48642 w 85587"/>
                  <a:gd name="connsiteY16" fmla="*/ 44594 h 170276"/>
                  <a:gd name="connsiteX17" fmla="*/ 44590 w 85587"/>
                  <a:gd name="connsiteY17" fmla="*/ 48648 h 170276"/>
                  <a:gd name="connsiteX18" fmla="*/ 20268 w 85587"/>
                  <a:gd name="connsiteY18" fmla="*/ 48648 h 170276"/>
                  <a:gd name="connsiteX19" fmla="*/ 16216 w 85587"/>
                  <a:gd name="connsiteY19" fmla="*/ 44594 h 170276"/>
                  <a:gd name="connsiteX20" fmla="*/ 20268 w 85587"/>
                  <a:gd name="connsiteY20" fmla="*/ 40541 h 170276"/>
                  <a:gd name="connsiteX21" fmla="*/ 40537 w 85587"/>
                  <a:gd name="connsiteY21" fmla="*/ 40541 h 170276"/>
                  <a:gd name="connsiteX22" fmla="*/ 40537 w 85587"/>
                  <a:gd name="connsiteY22" fmla="*/ 5731 h 170276"/>
                  <a:gd name="connsiteX23" fmla="*/ 1187 w 85587"/>
                  <a:gd name="connsiteY23" fmla="*/ 45090 h 170276"/>
                  <a:gd name="connsiteX24" fmla="*/ 0 w 85587"/>
                  <a:gd name="connsiteY24" fmla="*/ 47956 h 170276"/>
                  <a:gd name="connsiteX25" fmla="*/ 0 w 85587"/>
                  <a:gd name="connsiteY25" fmla="*/ 166223 h 170276"/>
                  <a:gd name="connsiteX26" fmla="*/ 4053 w 85587"/>
                  <a:gd name="connsiteY26" fmla="*/ 170276 h 170276"/>
                  <a:gd name="connsiteX27" fmla="*/ 18610 w 85587"/>
                  <a:gd name="connsiteY27" fmla="*/ 170276 h 170276"/>
                  <a:gd name="connsiteX28" fmla="*/ 34556 w 85587"/>
                  <a:gd name="connsiteY28" fmla="*/ 129735 h 170276"/>
                  <a:gd name="connsiteX29" fmla="*/ 20268 w 85587"/>
                  <a:gd name="connsiteY29" fmla="*/ 129735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5587" h="170276">
                    <a:moveTo>
                      <a:pt x="20268" y="129730"/>
                    </a:moveTo>
                    <a:cubicBezTo>
                      <a:pt x="18031" y="129730"/>
                      <a:pt x="16216" y="127914"/>
                      <a:pt x="16216" y="125677"/>
                    </a:cubicBezTo>
                    <a:cubicBezTo>
                      <a:pt x="16216" y="123439"/>
                      <a:pt x="18031" y="121624"/>
                      <a:pt x="20268" y="121624"/>
                    </a:cubicBezTo>
                    <a:lnTo>
                      <a:pt x="37745" y="121624"/>
                    </a:lnTo>
                    <a:lnTo>
                      <a:pt x="44123" y="105406"/>
                    </a:lnTo>
                    <a:lnTo>
                      <a:pt x="20268" y="105406"/>
                    </a:lnTo>
                    <a:cubicBezTo>
                      <a:pt x="18031" y="105406"/>
                      <a:pt x="16216" y="103591"/>
                      <a:pt x="16216" y="101353"/>
                    </a:cubicBezTo>
                    <a:cubicBezTo>
                      <a:pt x="16216" y="99115"/>
                      <a:pt x="18031" y="97300"/>
                      <a:pt x="20268" y="97300"/>
                    </a:cubicBezTo>
                    <a:lnTo>
                      <a:pt x="47313" y="97300"/>
                    </a:lnTo>
                    <a:lnTo>
                      <a:pt x="53691" y="81082"/>
                    </a:lnTo>
                    <a:lnTo>
                      <a:pt x="20264" y="81082"/>
                    </a:lnTo>
                    <a:cubicBezTo>
                      <a:pt x="18026" y="81082"/>
                      <a:pt x="16211" y="79267"/>
                      <a:pt x="16211" y="77029"/>
                    </a:cubicBezTo>
                    <a:cubicBezTo>
                      <a:pt x="16211" y="74792"/>
                      <a:pt x="18026" y="72976"/>
                      <a:pt x="20264" y="72976"/>
                    </a:cubicBezTo>
                    <a:lnTo>
                      <a:pt x="56880" y="72976"/>
                    </a:lnTo>
                    <a:lnTo>
                      <a:pt x="85588" y="0"/>
                    </a:lnTo>
                    <a:lnTo>
                      <a:pt x="48642" y="0"/>
                    </a:lnTo>
                    <a:lnTo>
                      <a:pt x="48642" y="44594"/>
                    </a:lnTo>
                    <a:cubicBezTo>
                      <a:pt x="48642" y="46832"/>
                      <a:pt x="46827" y="48648"/>
                      <a:pt x="44590" y="48648"/>
                    </a:cubicBezTo>
                    <a:lnTo>
                      <a:pt x="20268" y="48648"/>
                    </a:lnTo>
                    <a:cubicBezTo>
                      <a:pt x="18031" y="48648"/>
                      <a:pt x="16216" y="46832"/>
                      <a:pt x="16216" y="44594"/>
                    </a:cubicBezTo>
                    <a:cubicBezTo>
                      <a:pt x="16216" y="42357"/>
                      <a:pt x="18031" y="40541"/>
                      <a:pt x="20268" y="40541"/>
                    </a:cubicBezTo>
                    <a:lnTo>
                      <a:pt x="40537" y="40541"/>
                    </a:lnTo>
                    <a:lnTo>
                      <a:pt x="40537" y="5731"/>
                    </a:lnTo>
                    <a:lnTo>
                      <a:pt x="1187" y="45090"/>
                    </a:lnTo>
                    <a:cubicBezTo>
                      <a:pt x="422" y="45855"/>
                      <a:pt x="0" y="46871"/>
                      <a:pt x="0" y="47956"/>
                    </a:cubicBezTo>
                    <a:lnTo>
                      <a:pt x="0" y="166223"/>
                    </a:lnTo>
                    <a:cubicBezTo>
                      <a:pt x="0" y="168461"/>
                      <a:pt x="1820" y="170276"/>
                      <a:pt x="4053" y="170276"/>
                    </a:cubicBezTo>
                    <a:lnTo>
                      <a:pt x="18610" y="170276"/>
                    </a:lnTo>
                    <a:lnTo>
                      <a:pt x="34556" y="129735"/>
                    </a:lnTo>
                    <a:lnTo>
                      <a:pt x="20268" y="129735"/>
                    </a:lnTo>
                    <a:close/>
                  </a:path>
                </a:pathLst>
              </a:custGeom>
              <a:noFill/>
              <a:ln w="490" cap="flat">
                <a:noFill/>
                <a:prstDash val="solid"/>
                <a:miter/>
              </a:ln>
            </p:spPr>
            <p:txBody>
              <a:bodyPr rtlCol="0" anchor="ctr"/>
              <a:lstStyle/>
              <a:p>
                <a:endParaRPr/>
              </a:p>
            </p:txBody>
          </p:sp>
          <p:sp>
            <p:nvSpPr>
              <p:cNvPr id="32" name="Forma Livre 16">
                <a:extLst>
                  <a:ext uri="{FF2B5EF4-FFF2-40B4-BE49-F238E27FC236}">
                    <a16:creationId xmlns:a16="http://schemas.microsoft.com/office/drawing/2014/main" id="{D81A09AD-E0D7-5568-2B93-A061D49AB15B}"/>
                  </a:ext>
                </a:extLst>
              </p:cNvPr>
              <p:cNvSpPr/>
              <p:nvPr/>
            </p:nvSpPr>
            <p:spPr>
              <a:xfrm>
                <a:off x="3022412" y="3452125"/>
                <a:ext cx="76113" cy="170276"/>
              </a:xfrm>
              <a:custGeom>
                <a:avLst/>
                <a:gdLst>
                  <a:gd name="connsiteX0" fmla="*/ 39629 w 76113"/>
                  <a:gd name="connsiteY0" fmla="*/ 72981 h 170276"/>
                  <a:gd name="connsiteX1" fmla="*/ 43682 w 76113"/>
                  <a:gd name="connsiteY1" fmla="*/ 77034 h 170276"/>
                  <a:gd name="connsiteX2" fmla="*/ 39629 w 76113"/>
                  <a:gd name="connsiteY2" fmla="*/ 81087 h 170276"/>
                  <a:gd name="connsiteX3" fmla="*/ 35047 w 76113"/>
                  <a:gd name="connsiteY3" fmla="*/ 81087 h 170276"/>
                  <a:gd name="connsiteX4" fmla="*/ 28673 w 76113"/>
                  <a:gd name="connsiteY4" fmla="*/ 97305 h 170276"/>
                  <a:gd name="connsiteX5" fmla="*/ 55845 w 76113"/>
                  <a:gd name="connsiteY5" fmla="*/ 97305 h 170276"/>
                  <a:gd name="connsiteX6" fmla="*/ 59898 w 76113"/>
                  <a:gd name="connsiteY6" fmla="*/ 101358 h 170276"/>
                  <a:gd name="connsiteX7" fmla="*/ 55845 w 76113"/>
                  <a:gd name="connsiteY7" fmla="*/ 105411 h 170276"/>
                  <a:gd name="connsiteX8" fmla="*/ 25489 w 76113"/>
                  <a:gd name="connsiteY8" fmla="*/ 105411 h 170276"/>
                  <a:gd name="connsiteX9" fmla="*/ 19115 w 76113"/>
                  <a:gd name="connsiteY9" fmla="*/ 121629 h 170276"/>
                  <a:gd name="connsiteX10" fmla="*/ 55845 w 76113"/>
                  <a:gd name="connsiteY10" fmla="*/ 121629 h 170276"/>
                  <a:gd name="connsiteX11" fmla="*/ 59898 w 76113"/>
                  <a:gd name="connsiteY11" fmla="*/ 125682 h 170276"/>
                  <a:gd name="connsiteX12" fmla="*/ 55845 w 76113"/>
                  <a:gd name="connsiteY12" fmla="*/ 129735 h 170276"/>
                  <a:gd name="connsiteX13" fmla="*/ 15931 w 76113"/>
                  <a:gd name="connsiteY13" fmla="*/ 129735 h 170276"/>
                  <a:gd name="connsiteX14" fmla="*/ 9558 w 76113"/>
                  <a:gd name="connsiteY14" fmla="*/ 145952 h 170276"/>
                  <a:gd name="connsiteX15" fmla="*/ 55845 w 76113"/>
                  <a:gd name="connsiteY15" fmla="*/ 145952 h 170276"/>
                  <a:gd name="connsiteX16" fmla="*/ 59898 w 76113"/>
                  <a:gd name="connsiteY16" fmla="*/ 150005 h 170276"/>
                  <a:gd name="connsiteX17" fmla="*/ 55845 w 76113"/>
                  <a:gd name="connsiteY17" fmla="*/ 154059 h 170276"/>
                  <a:gd name="connsiteX18" fmla="*/ 6373 w 76113"/>
                  <a:gd name="connsiteY18" fmla="*/ 154059 h 170276"/>
                  <a:gd name="connsiteX19" fmla="*/ 0 w 76113"/>
                  <a:gd name="connsiteY19" fmla="*/ 170276 h 170276"/>
                  <a:gd name="connsiteX20" fmla="*/ 72061 w 76113"/>
                  <a:gd name="connsiteY20" fmla="*/ 170276 h 170276"/>
                  <a:gd name="connsiteX21" fmla="*/ 76113 w 76113"/>
                  <a:gd name="connsiteY21" fmla="*/ 166223 h 170276"/>
                  <a:gd name="connsiteX22" fmla="*/ 76113 w 76113"/>
                  <a:gd name="connsiteY22" fmla="*/ 4053 h 170276"/>
                  <a:gd name="connsiteX23" fmla="*/ 72061 w 76113"/>
                  <a:gd name="connsiteY23" fmla="*/ 0 h 170276"/>
                  <a:gd name="connsiteX24" fmla="*/ 66914 w 76113"/>
                  <a:gd name="connsiteY24" fmla="*/ 0 h 170276"/>
                  <a:gd name="connsiteX25" fmla="*/ 38236 w 76113"/>
                  <a:gd name="connsiteY25" fmla="*/ 72976 h 170276"/>
                  <a:gd name="connsiteX26" fmla="*/ 39629 w 76113"/>
                  <a:gd name="connsiteY26" fmla="*/ 72976 h 17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113" h="170276">
                    <a:moveTo>
                      <a:pt x="39629" y="72981"/>
                    </a:moveTo>
                    <a:cubicBezTo>
                      <a:pt x="41867" y="72981"/>
                      <a:pt x="43682" y="74797"/>
                      <a:pt x="43682" y="77034"/>
                    </a:cubicBezTo>
                    <a:cubicBezTo>
                      <a:pt x="43682" y="79272"/>
                      <a:pt x="41867" y="81087"/>
                      <a:pt x="39629" y="81087"/>
                    </a:cubicBezTo>
                    <a:lnTo>
                      <a:pt x="35047" y="81087"/>
                    </a:lnTo>
                    <a:lnTo>
                      <a:pt x="28673" y="97305"/>
                    </a:lnTo>
                    <a:lnTo>
                      <a:pt x="55845" y="97305"/>
                    </a:lnTo>
                    <a:cubicBezTo>
                      <a:pt x="58082" y="97305"/>
                      <a:pt x="59898" y="99120"/>
                      <a:pt x="59898" y="101358"/>
                    </a:cubicBezTo>
                    <a:cubicBezTo>
                      <a:pt x="59898" y="103596"/>
                      <a:pt x="58082" y="105411"/>
                      <a:pt x="55845" y="105411"/>
                    </a:cubicBezTo>
                    <a:lnTo>
                      <a:pt x="25489" y="105411"/>
                    </a:lnTo>
                    <a:lnTo>
                      <a:pt x="19115" y="121629"/>
                    </a:lnTo>
                    <a:lnTo>
                      <a:pt x="55845" y="121629"/>
                    </a:lnTo>
                    <a:cubicBezTo>
                      <a:pt x="58082" y="121629"/>
                      <a:pt x="59898" y="123444"/>
                      <a:pt x="59898" y="125682"/>
                    </a:cubicBezTo>
                    <a:cubicBezTo>
                      <a:pt x="59898" y="127919"/>
                      <a:pt x="58082" y="129735"/>
                      <a:pt x="55845" y="129735"/>
                    </a:cubicBezTo>
                    <a:lnTo>
                      <a:pt x="15931" y="129735"/>
                    </a:lnTo>
                    <a:lnTo>
                      <a:pt x="9558" y="145952"/>
                    </a:lnTo>
                    <a:lnTo>
                      <a:pt x="55845" y="145952"/>
                    </a:lnTo>
                    <a:cubicBezTo>
                      <a:pt x="58082" y="145952"/>
                      <a:pt x="59898" y="147768"/>
                      <a:pt x="59898" y="150005"/>
                    </a:cubicBezTo>
                    <a:cubicBezTo>
                      <a:pt x="59898" y="152243"/>
                      <a:pt x="58082" y="154059"/>
                      <a:pt x="55845" y="154059"/>
                    </a:cubicBezTo>
                    <a:lnTo>
                      <a:pt x="6373" y="154059"/>
                    </a:lnTo>
                    <a:lnTo>
                      <a:pt x="0" y="170276"/>
                    </a:lnTo>
                    <a:lnTo>
                      <a:pt x="72061" y="170276"/>
                    </a:lnTo>
                    <a:cubicBezTo>
                      <a:pt x="74298" y="170276"/>
                      <a:pt x="76113" y="168456"/>
                      <a:pt x="76113" y="166223"/>
                    </a:cubicBezTo>
                    <a:lnTo>
                      <a:pt x="76113" y="4053"/>
                    </a:lnTo>
                    <a:cubicBezTo>
                      <a:pt x="76113" y="1816"/>
                      <a:pt x="74293" y="0"/>
                      <a:pt x="72061" y="0"/>
                    </a:cubicBezTo>
                    <a:lnTo>
                      <a:pt x="66914" y="0"/>
                    </a:lnTo>
                    <a:lnTo>
                      <a:pt x="38236" y="72976"/>
                    </a:lnTo>
                    <a:lnTo>
                      <a:pt x="39629" y="72976"/>
                    </a:lnTo>
                    <a:close/>
                  </a:path>
                </a:pathLst>
              </a:custGeom>
              <a:noFill/>
              <a:ln w="490" cap="flat">
                <a:noFill/>
                <a:prstDash val="solid"/>
                <a:miter/>
              </a:ln>
            </p:spPr>
            <p:txBody>
              <a:bodyPr rtlCol="0" anchor="ctr"/>
              <a:lstStyle/>
              <a:p>
                <a:endParaRPr/>
              </a:p>
            </p:txBody>
          </p:sp>
          <p:sp>
            <p:nvSpPr>
              <p:cNvPr id="33" name="Forma Livre 17">
                <a:extLst>
                  <a:ext uri="{FF2B5EF4-FFF2-40B4-BE49-F238E27FC236}">
                    <a16:creationId xmlns:a16="http://schemas.microsoft.com/office/drawing/2014/main" id="{2D55C974-09F2-7CB0-4AD6-5CA8EF19A124}"/>
                  </a:ext>
                </a:extLst>
              </p:cNvPr>
              <p:cNvSpPr/>
              <p:nvPr/>
            </p:nvSpPr>
            <p:spPr>
              <a:xfrm>
                <a:off x="2968804" y="3444023"/>
                <a:ext cx="96887" cy="186493"/>
              </a:xfrm>
              <a:custGeom>
                <a:avLst/>
                <a:gdLst>
                  <a:gd name="connsiteX0" fmla="*/ 12163 w 96887"/>
                  <a:gd name="connsiteY0" fmla="*/ 178382 h 186493"/>
                  <a:gd name="connsiteX1" fmla="*/ 8110 w 96887"/>
                  <a:gd name="connsiteY1" fmla="*/ 174329 h 186493"/>
                  <a:gd name="connsiteX2" fmla="*/ 8110 w 96887"/>
                  <a:gd name="connsiteY2" fmla="*/ 56062 h 186493"/>
                  <a:gd name="connsiteX3" fmla="*/ 9298 w 96887"/>
                  <a:gd name="connsiteY3" fmla="*/ 53196 h 186493"/>
                  <a:gd name="connsiteX4" fmla="*/ 48647 w 96887"/>
                  <a:gd name="connsiteY4" fmla="*/ 13838 h 186493"/>
                  <a:gd name="connsiteX5" fmla="*/ 48647 w 96887"/>
                  <a:gd name="connsiteY5" fmla="*/ 48647 h 186493"/>
                  <a:gd name="connsiteX6" fmla="*/ 28379 w 96887"/>
                  <a:gd name="connsiteY6" fmla="*/ 48647 h 186493"/>
                  <a:gd name="connsiteX7" fmla="*/ 24326 w 96887"/>
                  <a:gd name="connsiteY7" fmla="*/ 52701 h 186493"/>
                  <a:gd name="connsiteX8" fmla="*/ 28379 w 96887"/>
                  <a:gd name="connsiteY8" fmla="*/ 56754 h 186493"/>
                  <a:gd name="connsiteX9" fmla="*/ 52700 w 96887"/>
                  <a:gd name="connsiteY9" fmla="*/ 56754 h 186493"/>
                  <a:gd name="connsiteX10" fmla="*/ 56753 w 96887"/>
                  <a:gd name="connsiteY10" fmla="*/ 52701 h 186493"/>
                  <a:gd name="connsiteX11" fmla="*/ 56753 w 96887"/>
                  <a:gd name="connsiteY11" fmla="*/ 8106 h 186493"/>
                  <a:gd name="connsiteX12" fmla="*/ 93698 w 96887"/>
                  <a:gd name="connsiteY12" fmla="*/ 8106 h 186493"/>
                  <a:gd name="connsiteX13" fmla="*/ 96887 w 96887"/>
                  <a:gd name="connsiteY13" fmla="*/ 0 h 186493"/>
                  <a:gd name="connsiteX14" fmla="*/ 56061 w 96887"/>
                  <a:gd name="connsiteY14" fmla="*/ 0 h 186493"/>
                  <a:gd name="connsiteX15" fmla="*/ 53897 w 96887"/>
                  <a:gd name="connsiteY15" fmla="*/ 201 h 186493"/>
                  <a:gd name="connsiteX16" fmla="*/ 52700 w 96887"/>
                  <a:gd name="connsiteY16" fmla="*/ 0 h 186493"/>
                  <a:gd name="connsiteX17" fmla="*/ 49128 w 96887"/>
                  <a:gd name="connsiteY17" fmla="*/ 2174 h 186493"/>
                  <a:gd name="connsiteX18" fmla="*/ 47460 w 96887"/>
                  <a:gd name="connsiteY18" fmla="*/ 3558 h 186493"/>
                  <a:gd name="connsiteX19" fmla="*/ 3562 w 96887"/>
                  <a:gd name="connsiteY19" fmla="*/ 47460 h 186493"/>
                  <a:gd name="connsiteX20" fmla="*/ 0 w 96887"/>
                  <a:gd name="connsiteY20" fmla="*/ 56062 h 186493"/>
                  <a:gd name="connsiteX21" fmla="*/ 0 w 96887"/>
                  <a:gd name="connsiteY21" fmla="*/ 174329 h 186493"/>
                  <a:gd name="connsiteX22" fmla="*/ 12163 w 96887"/>
                  <a:gd name="connsiteY22" fmla="*/ 186493 h 186493"/>
                  <a:gd name="connsiteX23" fmla="*/ 23531 w 96887"/>
                  <a:gd name="connsiteY23" fmla="*/ 186493 h 186493"/>
                  <a:gd name="connsiteX24" fmla="*/ 26720 w 96887"/>
                  <a:gd name="connsiteY24" fmla="*/ 178387 h 186493"/>
                  <a:gd name="connsiteX25" fmla="*/ 12163 w 96887"/>
                  <a:gd name="connsiteY25" fmla="*/ 178387 h 18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6887" h="186493">
                    <a:moveTo>
                      <a:pt x="12163" y="178382"/>
                    </a:moveTo>
                    <a:cubicBezTo>
                      <a:pt x="9926" y="178382"/>
                      <a:pt x="8110" y="176562"/>
                      <a:pt x="8110" y="174329"/>
                    </a:cubicBezTo>
                    <a:lnTo>
                      <a:pt x="8110" y="56062"/>
                    </a:lnTo>
                    <a:cubicBezTo>
                      <a:pt x="8110" y="54977"/>
                      <a:pt x="8532" y="53962"/>
                      <a:pt x="9298" y="53196"/>
                    </a:cubicBezTo>
                    <a:lnTo>
                      <a:pt x="48647" y="13838"/>
                    </a:lnTo>
                    <a:lnTo>
                      <a:pt x="48647" y="48647"/>
                    </a:lnTo>
                    <a:lnTo>
                      <a:pt x="28379" y="48647"/>
                    </a:lnTo>
                    <a:cubicBezTo>
                      <a:pt x="26141" y="48647"/>
                      <a:pt x="24326" y="50463"/>
                      <a:pt x="24326" y="52701"/>
                    </a:cubicBezTo>
                    <a:cubicBezTo>
                      <a:pt x="24326" y="54938"/>
                      <a:pt x="26141" y="56754"/>
                      <a:pt x="28379" y="56754"/>
                    </a:cubicBezTo>
                    <a:lnTo>
                      <a:pt x="52700" y="56754"/>
                    </a:lnTo>
                    <a:cubicBezTo>
                      <a:pt x="54937" y="56754"/>
                      <a:pt x="56753" y="54938"/>
                      <a:pt x="56753" y="52701"/>
                    </a:cubicBezTo>
                    <a:lnTo>
                      <a:pt x="56753" y="8106"/>
                    </a:lnTo>
                    <a:lnTo>
                      <a:pt x="93698" y="8106"/>
                    </a:lnTo>
                    <a:lnTo>
                      <a:pt x="96887" y="0"/>
                    </a:lnTo>
                    <a:lnTo>
                      <a:pt x="56061" y="0"/>
                    </a:lnTo>
                    <a:cubicBezTo>
                      <a:pt x="55330" y="0"/>
                      <a:pt x="54604" y="74"/>
                      <a:pt x="53897" y="201"/>
                    </a:cubicBezTo>
                    <a:cubicBezTo>
                      <a:pt x="53514" y="83"/>
                      <a:pt x="53122" y="0"/>
                      <a:pt x="52700" y="0"/>
                    </a:cubicBezTo>
                    <a:cubicBezTo>
                      <a:pt x="51145" y="0"/>
                      <a:pt x="49805" y="888"/>
                      <a:pt x="49128" y="2174"/>
                    </a:cubicBezTo>
                    <a:cubicBezTo>
                      <a:pt x="48539" y="2586"/>
                      <a:pt x="47980" y="3042"/>
                      <a:pt x="47460" y="3558"/>
                    </a:cubicBezTo>
                    <a:lnTo>
                      <a:pt x="3562" y="47460"/>
                    </a:lnTo>
                    <a:cubicBezTo>
                      <a:pt x="1266" y="49756"/>
                      <a:pt x="0" y="52809"/>
                      <a:pt x="0" y="56062"/>
                    </a:cubicBezTo>
                    <a:lnTo>
                      <a:pt x="0" y="174329"/>
                    </a:lnTo>
                    <a:cubicBezTo>
                      <a:pt x="0" y="181037"/>
                      <a:pt x="5456" y="186493"/>
                      <a:pt x="12163" y="186493"/>
                    </a:cubicBezTo>
                    <a:lnTo>
                      <a:pt x="23531" y="186493"/>
                    </a:lnTo>
                    <a:lnTo>
                      <a:pt x="26720" y="178387"/>
                    </a:lnTo>
                    <a:lnTo>
                      <a:pt x="12163" y="178387"/>
                    </a:lnTo>
                    <a:close/>
                  </a:path>
                </a:pathLst>
              </a:custGeom>
              <a:solidFill>
                <a:srgbClr val="001638"/>
              </a:solidFill>
              <a:ln w="9525" cap="flat">
                <a:solidFill>
                  <a:srgbClr val="001638"/>
                </a:solidFill>
                <a:prstDash val="solid"/>
                <a:miter/>
              </a:ln>
            </p:spPr>
            <p:txBody>
              <a:bodyPr rtlCol="0" anchor="ctr"/>
              <a:lstStyle/>
              <a:p>
                <a:endParaRPr/>
              </a:p>
            </p:txBody>
          </p:sp>
          <p:sp>
            <p:nvSpPr>
              <p:cNvPr id="34" name="Forma Livre 19">
                <a:extLst>
                  <a:ext uri="{FF2B5EF4-FFF2-40B4-BE49-F238E27FC236}">
                    <a16:creationId xmlns:a16="http://schemas.microsoft.com/office/drawing/2014/main" id="{87B1C464-F7E7-3EE3-96A3-E81AB58F50F8}"/>
                  </a:ext>
                </a:extLst>
              </p:cNvPr>
              <p:cNvSpPr/>
              <p:nvPr/>
            </p:nvSpPr>
            <p:spPr>
              <a:xfrm>
                <a:off x="3019227" y="3444018"/>
                <a:ext cx="87412" cy="186488"/>
              </a:xfrm>
              <a:custGeom>
                <a:avLst/>
                <a:gdLst>
                  <a:gd name="connsiteX0" fmla="*/ 75245 w 87412"/>
                  <a:gd name="connsiteY0" fmla="*/ 0 h 186488"/>
                  <a:gd name="connsiteX1" fmla="*/ 73282 w 87412"/>
                  <a:gd name="connsiteY1" fmla="*/ 0 h 186488"/>
                  <a:gd name="connsiteX2" fmla="*/ 70098 w 87412"/>
                  <a:gd name="connsiteY2" fmla="*/ 8106 h 186488"/>
                  <a:gd name="connsiteX3" fmla="*/ 75245 w 87412"/>
                  <a:gd name="connsiteY3" fmla="*/ 8106 h 186488"/>
                  <a:gd name="connsiteX4" fmla="*/ 79298 w 87412"/>
                  <a:gd name="connsiteY4" fmla="*/ 12159 h 186488"/>
                  <a:gd name="connsiteX5" fmla="*/ 79298 w 87412"/>
                  <a:gd name="connsiteY5" fmla="*/ 174329 h 186488"/>
                  <a:gd name="connsiteX6" fmla="*/ 75245 w 87412"/>
                  <a:gd name="connsiteY6" fmla="*/ 178382 h 186488"/>
                  <a:gd name="connsiteX7" fmla="*/ 3184 w 87412"/>
                  <a:gd name="connsiteY7" fmla="*/ 178382 h 186488"/>
                  <a:gd name="connsiteX8" fmla="*/ 0 w 87412"/>
                  <a:gd name="connsiteY8" fmla="*/ 186489 h 186488"/>
                  <a:gd name="connsiteX9" fmla="*/ 75250 w 87412"/>
                  <a:gd name="connsiteY9" fmla="*/ 186489 h 186488"/>
                  <a:gd name="connsiteX10" fmla="*/ 87413 w 87412"/>
                  <a:gd name="connsiteY10" fmla="*/ 174324 h 186488"/>
                  <a:gd name="connsiteX11" fmla="*/ 87413 w 87412"/>
                  <a:gd name="connsiteY11" fmla="*/ 12154 h 186488"/>
                  <a:gd name="connsiteX12" fmla="*/ 75245 w 87412"/>
                  <a:gd name="connsiteY12" fmla="*/ 0 h 18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412" h="186488">
                    <a:moveTo>
                      <a:pt x="75245" y="0"/>
                    </a:moveTo>
                    <a:lnTo>
                      <a:pt x="73282" y="0"/>
                    </a:lnTo>
                    <a:lnTo>
                      <a:pt x="70098" y="8106"/>
                    </a:lnTo>
                    <a:lnTo>
                      <a:pt x="75245" y="8106"/>
                    </a:lnTo>
                    <a:cubicBezTo>
                      <a:pt x="77482" y="8106"/>
                      <a:pt x="79298" y="9927"/>
                      <a:pt x="79298" y="12159"/>
                    </a:cubicBezTo>
                    <a:lnTo>
                      <a:pt x="79298" y="174329"/>
                    </a:lnTo>
                    <a:cubicBezTo>
                      <a:pt x="79298" y="176567"/>
                      <a:pt x="77477" y="178382"/>
                      <a:pt x="75245" y="178382"/>
                    </a:cubicBezTo>
                    <a:lnTo>
                      <a:pt x="3184" y="178382"/>
                    </a:lnTo>
                    <a:lnTo>
                      <a:pt x="0" y="186489"/>
                    </a:lnTo>
                    <a:lnTo>
                      <a:pt x="75250" y="186489"/>
                    </a:lnTo>
                    <a:cubicBezTo>
                      <a:pt x="81957" y="186489"/>
                      <a:pt x="87413" y="181032"/>
                      <a:pt x="87413" y="174324"/>
                    </a:cubicBezTo>
                    <a:lnTo>
                      <a:pt x="87413" y="12154"/>
                    </a:lnTo>
                    <a:cubicBezTo>
                      <a:pt x="87408" y="5457"/>
                      <a:pt x="81952" y="0"/>
                      <a:pt x="75245" y="0"/>
                    </a:cubicBezTo>
                    <a:close/>
                  </a:path>
                </a:pathLst>
              </a:custGeom>
              <a:solidFill>
                <a:srgbClr val="001638"/>
              </a:solidFill>
              <a:ln w="9525" cap="flat">
                <a:solidFill>
                  <a:srgbClr val="001638"/>
                </a:solidFill>
                <a:prstDash val="solid"/>
                <a:miter/>
              </a:ln>
            </p:spPr>
            <p:txBody>
              <a:bodyPr rtlCol="0" anchor="ctr"/>
              <a:lstStyle/>
              <a:p>
                <a:endParaRPr/>
              </a:p>
            </p:txBody>
          </p:sp>
          <p:sp>
            <p:nvSpPr>
              <p:cNvPr id="35" name="Forma Livre 22">
                <a:extLst>
                  <a:ext uri="{FF2B5EF4-FFF2-40B4-BE49-F238E27FC236}">
                    <a16:creationId xmlns:a16="http://schemas.microsoft.com/office/drawing/2014/main" id="{2ADE282E-C231-A3FD-FB55-F616131545F3}"/>
                  </a:ext>
                </a:extLst>
              </p:cNvPr>
              <p:cNvSpPr/>
              <p:nvPr/>
            </p:nvSpPr>
            <p:spPr>
              <a:xfrm>
                <a:off x="2993130" y="3525106"/>
                <a:ext cx="40669" cy="8106"/>
              </a:xfrm>
              <a:custGeom>
                <a:avLst/>
                <a:gdLst>
                  <a:gd name="connsiteX0" fmla="*/ 0 w 40669"/>
                  <a:gd name="connsiteY0" fmla="*/ 4053 h 8106"/>
                  <a:gd name="connsiteX1" fmla="*/ 4053 w 40669"/>
                  <a:gd name="connsiteY1" fmla="*/ 8106 h 8106"/>
                  <a:gd name="connsiteX2" fmla="*/ 37480 w 40669"/>
                  <a:gd name="connsiteY2" fmla="*/ 8106 h 8106"/>
                  <a:gd name="connsiteX3" fmla="*/ 40669 w 40669"/>
                  <a:gd name="connsiteY3" fmla="*/ 0 h 8106"/>
                  <a:gd name="connsiteX4" fmla="*/ 4053 w 40669"/>
                  <a:gd name="connsiteY4" fmla="*/ 0 h 8106"/>
                  <a:gd name="connsiteX5" fmla="*/ 0 w 40669"/>
                  <a:gd name="connsiteY5" fmla="*/ 4053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69" h="8106">
                    <a:moveTo>
                      <a:pt x="0" y="4053"/>
                    </a:moveTo>
                    <a:cubicBezTo>
                      <a:pt x="0" y="6291"/>
                      <a:pt x="1815" y="8106"/>
                      <a:pt x="4053" y="8106"/>
                    </a:cubicBezTo>
                    <a:lnTo>
                      <a:pt x="37480" y="8106"/>
                    </a:lnTo>
                    <a:lnTo>
                      <a:pt x="40669" y="0"/>
                    </a:lnTo>
                    <a:lnTo>
                      <a:pt x="4053" y="0"/>
                    </a:lnTo>
                    <a:cubicBezTo>
                      <a:pt x="1810" y="0"/>
                      <a:pt x="0" y="1811"/>
                      <a:pt x="0" y="4053"/>
                    </a:cubicBezTo>
                    <a:close/>
                  </a:path>
                </a:pathLst>
              </a:custGeom>
              <a:solidFill>
                <a:srgbClr val="001638"/>
              </a:solidFill>
              <a:ln w="490" cap="flat">
                <a:noFill/>
                <a:prstDash val="solid"/>
                <a:miter/>
              </a:ln>
            </p:spPr>
            <p:txBody>
              <a:bodyPr rtlCol="0" anchor="ctr"/>
              <a:lstStyle/>
              <a:p>
                <a:endParaRPr/>
              </a:p>
            </p:txBody>
          </p:sp>
          <p:sp>
            <p:nvSpPr>
              <p:cNvPr id="36" name="Forma Livre 23">
                <a:extLst>
                  <a:ext uri="{FF2B5EF4-FFF2-40B4-BE49-F238E27FC236}">
                    <a16:creationId xmlns:a16="http://schemas.microsoft.com/office/drawing/2014/main" id="{549B94A4-EE6E-4B38-F95C-ABE33846C823}"/>
                  </a:ext>
                </a:extLst>
              </p:cNvPr>
              <p:cNvSpPr/>
              <p:nvPr/>
            </p:nvSpPr>
            <p:spPr>
              <a:xfrm>
                <a:off x="3057463" y="3525106"/>
                <a:ext cx="8630" cy="8106"/>
              </a:xfrm>
              <a:custGeom>
                <a:avLst/>
                <a:gdLst>
                  <a:gd name="connsiteX0" fmla="*/ 4578 w 8630"/>
                  <a:gd name="connsiteY0" fmla="*/ 8106 h 8106"/>
                  <a:gd name="connsiteX1" fmla="*/ 8630 w 8630"/>
                  <a:gd name="connsiteY1" fmla="*/ 4053 h 8106"/>
                  <a:gd name="connsiteX2" fmla="*/ 4578 w 8630"/>
                  <a:gd name="connsiteY2" fmla="*/ 0 h 8106"/>
                  <a:gd name="connsiteX3" fmla="*/ 3184 w 8630"/>
                  <a:gd name="connsiteY3" fmla="*/ 0 h 8106"/>
                  <a:gd name="connsiteX4" fmla="*/ 0 w 8630"/>
                  <a:gd name="connsiteY4" fmla="*/ 8106 h 8106"/>
                  <a:gd name="connsiteX5" fmla="*/ 4578 w 8630"/>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0" h="8106">
                    <a:moveTo>
                      <a:pt x="4578" y="8106"/>
                    </a:moveTo>
                    <a:cubicBezTo>
                      <a:pt x="6815" y="8106"/>
                      <a:pt x="8630" y="6291"/>
                      <a:pt x="8630" y="4053"/>
                    </a:cubicBezTo>
                    <a:cubicBezTo>
                      <a:pt x="8630" y="1816"/>
                      <a:pt x="6815" y="0"/>
                      <a:pt x="4578" y="0"/>
                    </a:cubicBezTo>
                    <a:lnTo>
                      <a:pt x="3184" y="0"/>
                    </a:lnTo>
                    <a:lnTo>
                      <a:pt x="0" y="8106"/>
                    </a:lnTo>
                    <a:lnTo>
                      <a:pt x="4578" y="8106"/>
                    </a:lnTo>
                    <a:close/>
                  </a:path>
                </a:pathLst>
              </a:custGeom>
              <a:solidFill>
                <a:srgbClr val="001638"/>
              </a:solidFill>
              <a:ln w="490" cap="flat">
                <a:noFill/>
                <a:prstDash val="solid"/>
                <a:miter/>
              </a:ln>
            </p:spPr>
            <p:txBody>
              <a:bodyPr rtlCol="0" anchor="ctr"/>
              <a:lstStyle/>
              <a:p>
                <a:endParaRPr/>
              </a:p>
            </p:txBody>
          </p:sp>
          <p:sp>
            <p:nvSpPr>
              <p:cNvPr id="37" name="Forma Livre 24">
                <a:extLst>
                  <a:ext uri="{FF2B5EF4-FFF2-40B4-BE49-F238E27FC236}">
                    <a16:creationId xmlns:a16="http://schemas.microsoft.com/office/drawing/2014/main" id="{E9D3F4B9-0F0F-4E0F-07D5-2BC4E6B3D661}"/>
                  </a:ext>
                </a:extLst>
              </p:cNvPr>
              <p:cNvSpPr/>
              <p:nvPr/>
            </p:nvSpPr>
            <p:spPr>
              <a:xfrm>
                <a:off x="3047901" y="3549430"/>
                <a:ext cx="34408" cy="8106"/>
              </a:xfrm>
              <a:custGeom>
                <a:avLst/>
                <a:gdLst>
                  <a:gd name="connsiteX0" fmla="*/ 30356 w 34408"/>
                  <a:gd name="connsiteY0" fmla="*/ 8106 h 8106"/>
                  <a:gd name="connsiteX1" fmla="*/ 34409 w 34408"/>
                  <a:gd name="connsiteY1" fmla="*/ 4053 h 8106"/>
                  <a:gd name="connsiteX2" fmla="*/ 30356 w 34408"/>
                  <a:gd name="connsiteY2" fmla="*/ 0 h 8106"/>
                  <a:gd name="connsiteX3" fmla="*/ 3184 w 34408"/>
                  <a:gd name="connsiteY3" fmla="*/ 0 h 8106"/>
                  <a:gd name="connsiteX4" fmla="*/ 0 w 34408"/>
                  <a:gd name="connsiteY4" fmla="*/ 8106 h 8106"/>
                  <a:gd name="connsiteX5" fmla="*/ 30356 w 34408"/>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08" h="8106">
                    <a:moveTo>
                      <a:pt x="30356" y="8106"/>
                    </a:moveTo>
                    <a:cubicBezTo>
                      <a:pt x="32593" y="8106"/>
                      <a:pt x="34409" y="6291"/>
                      <a:pt x="34409" y="4053"/>
                    </a:cubicBezTo>
                    <a:cubicBezTo>
                      <a:pt x="34409" y="1816"/>
                      <a:pt x="32593" y="0"/>
                      <a:pt x="30356" y="0"/>
                    </a:cubicBezTo>
                    <a:lnTo>
                      <a:pt x="3184" y="0"/>
                    </a:lnTo>
                    <a:lnTo>
                      <a:pt x="0" y="8106"/>
                    </a:lnTo>
                    <a:lnTo>
                      <a:pt x="30356" y="8106"/>
                    </a:lnTo>
                    <a:close/>
                  </a:path>
                </a:pathLst>
              </a:custGeom>
              <a:solidFill>
                <a:srgbClr val="001638"/>
              </a:solidFill>
              <a:ln w="490" cap="flat">
                <a:noFill/>
                <a:prstDash val="solid"/>
                <a:miter/>
              </a:ln>
            </p:spPr>
            <p:txBody>
              <a:bodyPr rtlCol="0" anchor="ctr"/>
              <a:lstStyle/>
              <a:p>
                <a:endParaRPr/>
              </a:p>
            </p:txBody>
          </p:sp>
          <p:sp>
            <p:nvSpPr>
              <p:cNvPr id="38" name="Forma Livre 25">
                <a:extLst>
                  <a:ext uri="{FF2B5EF4-FFF2-40B4-BE49-F238E27FC236}">
                    <a16:creationId xmlns:a16="http://schemas.microsoft.com/office/drawing/2014/main" id="{4D5ACCEF-1AE8-CE4D-ECFB-DB423F1F2219}"/>
                  </a:ext>
                </a:extLst>
              </p:cNvPr>
              <p:cNvSpPr/>
              <p:nvPr/>
            </p:nvSpPr>
            <p:spPr>
              <a:xfrm>
                <a:off x="2993130" y="3549430"/>
                <a:ext cx="31096" cy="8106"/>
              </a:xfrm>
              <a:custGeom>
                <a:avLst/>
                <a:gdLst>
                  <a:gd name="connsiteX0" fmla="*/ 4053 w 31096"/>
                  <a:gd name="connsiteY0" fmla="*/ 0 h 8106"/>
                  <a:gd name="connsiteX1" fmla="*/ 0 w 31096"/>
                  <a:gd name="connsiteY1" fmla="*/ 4053 h 8106"/>
                  <a:gd name="connsiteX2" fmla="*/ 4053 w 31096"/>
                  <a:gd name="connsiteY2" fmla="*/ 8106 h 8106"/>
                  <a:gd name="connsiteX3" fmla="*/ 27908 w 31096"/>
                  <a:gd name="connsiteY3" fmla="*/ 8106 h 8106"/>
                  <a:gd name="connsiteX4" fmla="*/ 31097 w 31096"/>
                  <a:gd name="connsiteY4" fmla="*/ 0 h 8106"/>
                  <a:gd name="connsiteX5" fmla="*/ 4053 w 31096"/>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96" h="8106">
                    <a:moveTo>
                      <a:pt x="4053" y="0"/>
                    </a:moveTo>
                    <a:cubicBezTo>
                      <a:pt x="1815" y="0"/>
                      <a:pt x="0" y="1816"/>
                      <a:pt x="0" y="4053"/>
                    </a:cubicBezTo>
                    <a:cubicBezTo>
                      <a:pt x="0" y="6291"/>
                      <a:pt x="1815" y="8106"/>
                      <a:pt x="4053" y="8106"/>
                    </a:cubicBezTo>
                    <a:lnTo>
                      <a:pt x="27908" y="8106"/>
                    </a:lnTo>
                    <a:lnTo>
                      <a:pt x="31097" y="0"/>
                    </a:lnTo>
                    <a:lnTo>
                      <a:pt x="4053" y="0"/>
                    </a:lnTo>
                    <a:close/>
                  </a:path>
                </a:pathLst>
              </a:custGeom>
              <a:solidFill>
                <a:srgbClr val="001638"/>
              </a:solidFill>
              <a:ln w="490" cap="flat">
                <a:noFill/>
                <a:prstDash val="solid"/>
                <a:miter/>
              </a:ln>
            </p:spPr>
            <p:txBody>
              <a:bodyPr rtlCol="0" anchor="ctr"/>
              <a:lstStyle/>
              <a:p>
                <a:endParaRPr/>
              </a:p>
            </p:txBody>
          </p:sp>
          <p:sp>
            <p:nvSpPr>
              <p:cNvPr id="39" name="Forma Livre 26">
                <a:extLst>
                  <a:ext uri="{FF2B5EF4-FFF2-40B4-BE49-F238E27FC236}">
                    <a16:creationId xmlns:a16="http://schemas.microsoft.com/office/drawing/2014/main" id="{05B4307E-2CDA-E59C-21FE-02EB2D56429A}"/>
                  </a:ext>
                </a:extLst>
              </p:cNvPr>
              <p:cNvSpPr/>
              <p:nvPr/>
            </p:nvSpPr>
            <p:spPr>
              <a:xfrm>
                <a:off x="2993130" y="3573753"/>
                <a:ext cx="21529" cy="8106"/>
              </a:xfrm>
              <a:custGeom>
                <a:avLst/>
                <a:gdLst>
                  <a:gd name="connsiteX0" fmla="*/ 4053 w 21529"/>
                  <a:gd name="connsiteY0" fmla="*/ 0 h 8106"/>
                  <a:gd name="connsiteX1" fmla="*/ 0 w 21529"/>
                  <a:gd name="connsiteY1" fmla="*/ 4053 h 8106"/>
                  <a:gd name="connsiteX2" fmla="*/ 4053 w 21529"/>
                  <a:gd name="connsiteY2" fmla="*/ 8106 h 8106"/>
                  <a:gd name="connsiteX3" fmla="*/ 18340 w 21529"/>
                  <a:gd name="connsiteY3" fmla="*/ 8106 h 8106"/>
                  <a:gd name="connsiteX4" fmla="*/ 21529 w 21529"/>
                  <a:gd name="connsiteY4" fmla="*/ 0 h 8106"/>
                  <a:gd name="connsiteX5" fmla="*/ 4053 w 21529"/>
                  <a:gd name="connsiteY5" fmla="*/ 0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29" h="8106">
                    <a:moveTo>
                      <a:pt x="4053" y="0"/>
                    </a:moveTo>
                    <a:cubicBezTo>
                      <a:pt x="1815" y="0"/>
                      <a:pt x="0" y="1816"/>
                      <a:pt x="0" y="4053"/>
                    </a:cubicBezTo>
                    <a:cubicBezTo>
                      <a:pt x="0" y="6291"/>
                      <a:pt x="1815" y="8106"/>
                      <a:pt x="4053" y="8106"/>
                    </a:cubicBezTo>
                    <a:lnTo>
                      <a:pt x="18340" y="8106"/>
                    </a:lnTo>
                    <a:lnTo>
                      <a:pt x="21529" y="0"/>
                    </a:lnTo>
                    <a:lnTo>
                      <a:pt x="4053" y="0"/>
                    </a:lnTo>
                    <a:close/>
                  </a:path>
                </a:pathLst>
              </a:custGeom>
              <a:solidFill>
                <a:srgbClr val="001638"/>
              </a:solidFill>
              <a:ln w="490" cap="flat">
                <a:noFill/>
                <a:prstDash val="solid"/>
                <a:miter/>
              </a:ln>
            </p:spPr>
            <p:txBody>
              <a:bodyPr rtlCol="0" anchor="ctr"/>
              <a:lstStyle/>
              <a:p>
                <a:endParaRPr/>
              </a:p>
            </p:txBody>
          </p:sp>
          <p:sp>
            <p:nvSpPr>
              <p:cNvPr id="40" name="Forma Livre 27">
                <a:extLst>
                  <a:ext uri="{FF2B5EF4-FFF2-40B4-BE49-F238E27FC236}">
                    <a16:creationId xmlns:a16="http://schemas.microsoft.com/office/drawing/2014/main" id="{CBE25BD4-579A-8F6E-A014-6CEA6D54E58F}"/>
                  </a:ext>
                </a:extLst>
              </p:cNvPr>
              <p:cNvSpPr/>
              <p:nvPr/>
            </p:nvSpPr>
            <p:spPr>
              <a:xfrm>
                <a:off x="3038343" y="3573758"/>
                <a:ext cx="43966" cy="8106"/>
              </a:xfrm>
              <a:custGeom>
                <a:avLst/>
                <a:gdLst>
                  <a:gd name="connsiteX0" fmla="*/ 39914 w 43966"/>
                  <a:gd name="connsiteY0" fmla="*/ 8106 h 8106"/>
                  <a:gd name="connsiteX1" fmla="*/ 43966 w 43966"/>
                  <a:gd name="connsiteY1" fmla="*/ 4053 h 8106"/>
                  <a:gd name="connsiteX2" fmla="*/ 39914 w 43966"/>
                  <a:gd name="connsiteY2" fmla="*/ 0 h 8106"/>
                  <a:gd name="connsiteX3" fmla="*/ 3184 w 43966"/>
                  <a:gd name="connsiteY3" fmla="*/ 0 h 8106"/>
                  <a:gd name="connsiteX4" fmla="*/ 0 w 43966"/>
                  <a:gd name="connsiteY4" fmla="*/ 8106 h 8106"/>
                  <a:gd name="connsiteX5" fmla="*/ 39914 w 43966"/>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66" h="8106">
                    <a:moveTo>
                      <a:pt x="39914" y="8106"/>
                    </a:moveTo>
                    <a:cubicBezTo>
                      <a:pt x="42151" y="8106"/>
                      <a:pt x="43966" y="6291"/>
                      <a:pt x="43966" y="4053"/>
                    </a:cubicBezTo>
                    <a:cubicBezTo>
                      <a:pt x="43966" y="1816"/>
                      <a:pt x="42151" y="0"/>
                      <a:pt x="39914" y="0"/>
                    </a:cubicBezTo>
                    <a:lnTo>
                      <a:pt x="3184" y="0"/>
                    </a:lnTo>
                    <a:lnTo>
                      <a:pt x="0" y="8106"/>
                    </a:lnTo>
                    <a:lnTo>
                      <a:pt x="39914" y="8106"/>
                    </a:lnTo>
                    <a:close/>
                  </a:path>
                </a:pathLst>
              </a:custGeom>
              <a:solidFill>
                <a:srgbClr val="001638"/>
              </a:solidFill>
              <a:ln w="490" cap="flat">
                <a:noFill/>
                <a:prstDash val="solid"/>
                <a:miter/>
              </a:ln>
            </p:spPr>
            <p:txBody>
              <a:bodyPr rtlCol="0" anchor="ctr"/>
              <a:lstStyle/>
              <a:p>
                <a:endParaRPr/>
              </a:p>
            </p:txBody>
          </p:sp>
          <p:sp>
            <p:nvSpPr>
              <p:cNvPr id="41" name="Forma Livre 28">
                <a:extLst>
                  <a:ext uri="{FF2B5EF4-FFF2-40B4-BE49-F238E27FC236}">
                    <a16:creationId xmlns:a16="http://schemas.microsoft.com/office/drawing/2014/main" id="{9AB34934-E5E1-AE8F-E5F7-6EA93CCBB652}"/>
                  </a:ext>
                </a:extLst>
              </p:cNvPr>
              <p:cNvSpPr/>
              <p:nvPr/>
            </p:nvSpPr>
            <p:spPr>
              <a:xfrm>
                <a:off x="3028785" y="3598082"/>
                <a:ext cx="53524" cy="8106"/>
              </a:xfrm>
              <a:custGeom>
                <a:avLst/>
                <a:gdLst>
                  <a:gd name="connsiteX0" fmla="*/ 49471 w 53524"/>
                  <a:gd name="connsiteY0" fmla="*/ 8106 h 8106"/>
                  <a:gd name="connsiteX1" fmla="*/ 53524 w 53524"/>
                  <a:gd name="connsiteY1" fmla="*/ 4053 h 8106"/>
                  <a:gd name="connsiteX2" fmla="*/ 49471 w 53524"/>
                  <a:gd name="connsiteY2" fmla="*/ 0 h 8106"/>
                  <a:gd name="connsiteX3" fmla="*/ 3184 w 53524"/>
                  <a:gd name="connsiteY3" fmla="*/ 0 h 8106"/>
                  <a:gd name="connsiteX4" fmla="*/ 0 w 53524"/>
                  <a:gd name="connsiteY4" fmla="*/ 8106 h 8106"/>
                  <a:gd name="connsiteX5" fmla="*/ 49471 w 53524"/>
                  <a:gd name="connsiteY5" fmla="*/ 8106 h 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4" h="8106">
                    <a:moveTo>
                      <a:pt x="49471" y="8106"/>
                    </a:moveTo>
                    <a:cubicBezTo>
                      <a:pt x="51709" y="8106"/>
                      <a:pt x="53524" y="6291"/>
                      <a:pt x="53524" y="4053"/>
                    </a:cubicBezTo>
                    <a:cubicBezTo>
                      <a:pt x="53524" y="1816"/>
                      <a:pt x="51709" y="0"/>
                      <a:pt x="49471" y="0"/>
                    </a:cubicBezTo>
                    <a:lnTo>
                      <a:pt x="3184" y="0"/>
                    </a:lnTo>
                    <a:lnTo>
                      <a:pt x="0" y="8106"/>
                    </a:lnTo>
                    <a:lnTo>
                      <a:pt x="49471" y="8106"/>
                    </a:lnTo>
                    <a:close/>
                  </a:path>
                </a:pathLst>
              </a:custGeom>
              <a:solidFill>
                <a:srgbClr val="001638"/>
              </a:solidFill>
              <a:ln w="490" cap="flat">
                <a:noFill/>
                <a:prstDash val="solid"/>
                <a:miter/>
              </a:ln>
            </p:spPr>
            <p:txBody>
              <a:bodyPr rtlCol="0" anchor="ctr"/>
              <a:lstStyle/>
              <a:p>
                <a:endParaRPr/>
              </a:p>
            </p:txBody>
          </p:sp>
        </p:grpSp>
        <p:grpSp>
          <p:nvGrpSpPr>
            <p:cNvPr id="10" name="Agrupar 29">
              <a:extLst>
                <a:ext uri="{FF2B5EF4-FFF2-40B4-BE49-F238E27FC236}">
                  <a16:creationId xmlns:a16="http://schemas.microsoft.com/office/drawing/2014/main" id="{C5874D4A-03E2-41AE-FC03-FEF9B2956F54}"/>
                </a:ext>
              </a:extLst>
            </p:cNvPr>
            <p:cNvGrpSpPr/>
            <p:nvPr/>
          </p:nvGrpSpPr>
          <p:grpSpPr>
            <a:xfrm>
              <a:off x="4673188" y="1957820"/>
              <a:ext cx="212021" cy="184093"/>
              <a:chOff x="3425498" y="802378"/>
              <a:chExt cx="212021" cy="184093"/>
            </a:xfrm>
          </p:grpSpPr>
          <p:sp>
            <p:nvSpPr>
              <p:cNvPr id="23" name="Forma Livre 30">
                <a:extLst>
                  <a:ext uri="{FF2B5EF4-FFF2-40B4-BE49-F238E27FC236}">
                    <a16:creationId xmlns:a16="http://schemas.microsoft.com/office/drawing/2014/main" id="{9AE57BF2-122E-7A08-3823-D39EA891C9CC}"/>
                  </a:ext>
                </a:extLst>
              </p:cNvPr>
              <p:cNvSpPr/>
              <p:nvPr/>
            </p:nvSpPr>
            <p:spPr>
              <a:xfrm>
                <a:off x="3517126" y="832271"/>
                <a:ext cx="111557" cy="145363"/>
              </a:xfrm>
              <a:custGeom>
                <a:avLst/>
                <a:gdLst>
                  <a:gd name="connsiteX0" fmla="*/ 57783 w 111557"/>
                  <a:gd name="connsiteY0" fmla="*/ 77250 h 145363"/>
                  <a:gd name="connsiteX1" fmla="*/ 14381 w 111557"/>
                  <a:gd name="connsiteY1" fmla="*/ 120657 h 145363"/>
                  <a:gd name="connsiteX2" fmla="*/ 9803 w 111557"/>
                  <a:gd name="connsiteY2" fmla="*/ 120417 h 145363"/>
                  <a:gd name="connsiteX3" fmla="*/ 0 w 111557"/>
                  <a:gd name="connsiteY3" fmla="*/ 145363 h 145363"/>
                  <a:gd name="connsiteX4" fmla="*/ 92569 w 111557"/>
                  <a:gd name="connsiteY4" fmla="*/ 145363 h 145363"/>
                  <a:gd name="connsiteX5" fmla="*/ 111557 w 111557"/>
                  <a:gd name="connsiteY5" fmla="*/ 126374 h 145363"/>
                  <a:gd name="connsiteX6" fmla="*/ 111557 w 111557"/>
                  <a:gd name="connsiteY6" fmla="*/ 28122 h 145363"/>
                  <a:gd name="connsiteX7" fmla="*/ 92569 w 111557"/>
                  <a:gd name="connsiteY7" fmla="*/ 9132 h 145363"/>
                  <a:gd name="connsiteX8" fmla="*/ 66173 w 111557"/>
                  <a:gd name="connsiteY8" fmla="*/ 9132 h 145363"/>
                  <a:gd name="connsiteX9" fmla="*/ 60766 w 111557"/>
                  <a:gd name="connsiteY9" fmla="*/ 6070 h 145363"/>
                  <a:gd name="connsiteX10" fmla="*/ 57121 w 111557"/>
                  <a:gd name="connsiteY10" fmla="*/ 0 h 145363"/>
                  <a:gd name="connsiteX11" fmla="*/ 40409 w 111557"/>
                  <a:gd name="connsiteY11" fmla="*/ 42529 h 145363"/>
                  <a:gd name="connsiteX12" fmla="*/ 57783 w 111557"/>
                  <a:gd name="connsiteY12" fmla="*/ 77250 h 14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557" h="145363">
                    <a:moveTo>
                      <a:pt x="57783" y="77250"/>
                    </a:moveTo>
                    <a:cubicBezTo>
                      <a:pt x="57783" y="101186"/>
                      <a:pt x="38314" y="120657"/>
                      <a:pt x="14381" y="120657"/>
                    </a:cubicBezTo>
                    <a:cubicBezTo>
                      <a:pt x="12835" y="120657"/>
                      <a:pt x="11309" y="120574"/>
                      <a:pt x="9803" y="120417"/>
                    </a:cubicBezTo>
                    <a:lnTo>
                      <a:pt x="0" y="145363"/>
                    </a:lnTo>
                    <a:lnTo>
                      <a:pt x="92569" y="145363"/>
                    </a:lnTo>
                    <a:cubicBezTo>
                      <a:pt x="103040" y="145363"/>
                      <a:pt x="111557" y="136845"/>
                      <a:pt x="111557" y="126374"/>
                    </a:cubicBezTo>
                    <a:lnTo>
                      <a:pt x="111557" y="28122"/>
                    </a:lnTo>
                    <a:cubicBezTo>
                      <a:pt x="111557" y="17650"/>
                      <a:pt x="103040" y="9132"/>
                      <a:pt x="92569" y="9132"/>
                    </a:cubicBezTo>
                    <a:lnTo>
                      <a:pt x="66173" y="9132"/>
                    </a:lnTo>
                    <a:cubicBezTo>
                      <a:pt x="63970" y="9132"/>
                      <a:pt x="61899" y="7959"/>
                      <a:pt x="60766" y="6070"/>
                    </a:cubicBezTo>
                    <a:lnTo>
                      <a:pt x="57121" y="0"/>
                    </a:lnTo>
                    <a:lnTo>
                      <a:pt x="40409" y="42529"/>
                    </a:lnTo>
                    <a:cubicBezTo>
                      <a:pt x="50953" y="50463"/>
                      <a:pt x="57783" y="63074"/>
                      <a:pt x="57783" y="77250"/>
                    </a:cubicBezTo>
                    <a:close/>
                  </a:path>
                </a:pathLst>
              </a:custGeom>
              <a:noFill/>
              <a:ln w="490" cap="flat">
                <a:noFill/>
                <a:prstDash val="solid"/>
                <a:miter/>
              </a:ln>
            </p:spPr>
            <p:txBody>
              <a:bodyPr rtlCol="0" anchor="ctr"/>
              <a:lstStyle/>
              <a:p>
                <a:endParaRPr/>
              </a:p>
            </p:txBody>
          </p:sp>
          <p:sp>
            <p:nvSpPr>
              <p:cNvPr id="24" name="Forma Livre 31">
                <a:extLst>
                  <a:ext uri="{FF2B5EF4-FFF2-40B4-BE49-F238E27FC236}">
                    <a16:creationId xmlns:a16="http://schemas.microsoft.com/office/drawing/2014/main" id="{FC618EE2-CC79-23FA-A120-F5EA2989E5C0}"/>
                  </a:ext>
                </a:extLst>
              </p:cNvPr>
              <p:cNvSpPr/>
              <p:nvPr/>
            </p:nvSpPr>
            <p:spPr>
              <a:xfrm>
                <a:off x="3530319" y="883426"/>
                <a:ext cx="35757" cy="60669"/>
              </a:xfrm>
              <a:custGeom>
                <a:avLst/>
                <a:gdLst>
                  <a:gd name="connsiteX0" fmla="*/ 1187 w 35757"/>
                  <a:gd name="connsiteY0" fmla="*/ 60670 h 60669"/>
                  <a:gd name="connsiteX1" fmla="*/ 35758 w 35757"/>
                  <a:gd name="connsiteY1" fmla="*/ 26095 h 60669"/>
                  <a:gd name="connsiteX2" fmla="*/ 23830 w 35757"/>
                  <a:gd name="connsiteY2" fmla="*/ 0 h 60669"/>
                  <a:gd name="connsiteX3" fmla="*/ 0 w 35757"/>
                  <a:gd name="connsiteY3" fmla="*/ 60640 h 60669"/>
                  <a:gd name="connsiteX4" fmla="*/ 1187 w 35757"/>
                  <a:gd name="connsiteY4" fmla="*/ 60670 h 60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7" h="60669">
                    <a:moveTo>
                      <a:pt x="1187" y="60670"/>
                    </a:moveTo>
                    <a:cubicBezTo>
                      <a:pt x="20249" y="60670"/>
                      <a:pt x="35758" y="45159"/>
                      <a:pt x="35758" y="26095"/>
                    </a:cubicBezTo>
                    <a:cubicBezTo>
                      <a:pt x="35758" y="15688"/>
                      <a:pt x="31126" y="6345"/>
                      <a:pt x="23830" y="0"/>
                    </a:cubicBezTo>
                    <a:lnTo>
                      <a:pt x="0" y="60640"/>
                    </a:lnTo>
                    <a:cubicBezTo>
                      <a:pt x="392" y="60655"/>
                      <a:pt x="790" y="60670"/>
                      <a:pt x="1187" y="60670"/>
                    </a:cubicBezTo>
                    <a:close/>
                  </a:path>
                </a:pathLst>
              </a:custGeom>
              <a:noFill/>
              <a:ln w="490" cap="flat">
                <a:noFill/>
                <a:prstDash val="solid"/>
                <a:miter/>
              </a:ln>
            </p:spPr>
            <p:txBody>
              <a:bodyPr rtlCol="0" anchor="ctr"/>
              <a:lstStyle/>
              <a:p>
                <a:endParaRPr/>
              </a:p>
            </p:txBody>
          </p:sp>
          <p:sp>
            <p:nvSpPr>
              <p:cNvPr id="25" name="Forma Livre 32">
                <a:extLst>
                  <a:ext uri="{FF2B5EF4-FFF2-40B4-BE49-F238E27FC236}">
                    <a16:creationId xmlns:a16="http://schemas.microsoft.com/office/drawing/2014/main" id="{2EDB6E1C-C534-5208-02E8-7BF5DA99CB3A}"/>
                  </a:ext>
                </a:extLst>
              </p:cNvPr>
              <p:cNvSpPr/>
              <p:nvPr/>
            </p:nvSpPr>
            <p:spPr>
              <a:xfrm>
                <a:off x="3434330" y="811215"/>
                <a:ext cx="121144" cy="166424"/>
              </a:xfrm>
              <a:custGeom>
                <a:avLst/>
                <a:gdLst>
                  <a:gd name="connsiteX0" fmla="*/ 53774 w 121144"/>
                  <a:gd name="connsiteY0" fmla="*/ 98306 h 166424"/>
                  <a:gd name="connsiteX1" fmla="*/ 97177 w 121144"/>
                  <a:gd name="connsiteY1" fmla="*/ 54899 h 166424"/>
                  <a:gd name="connsiteX2" fmla="*/ 99748 w 121144"/>
                  <a:gd name="connsiteY2" fmla="*/ 54977 h 166424"/>
                  <a:gd name="connsiteX3" fmla="*/ 121144 w 121144"/>
                  <a:gd name="connsiteY3" fmla="*/ 584 h 166424"/>
                  <a:gd name="connsiteX4" fmla="*/ 116528 w 121144"/>
                  <a:gd name="connsiteY4" fmla="*/ 0 h 166424"/>
                  <a:gd name="connsiteX5" fmla="*/ 76084 w 121144"/>
                  <a:gd name="connsiteY5" fmla="*/ 0 h 166424"/>
                  <a:gd name="connsiteX6" fmla="*/ 59760 w 121144"/>
                  <a:gd name="connsiteY6" fmla="*/ 9284 h 166424"/>
                  <a:gd name="connsiteX7" fmla="*/ 49167 w 121144"/>
                  <a:gd name="connsiteY7" fmla="*/ 27106 h 166424"/>
                  <a:gd name="connsiteX8" fmla="*/ 43746 w 121144"/>
                  <a:gd name="connsiteY8" fmla="*/ 30192 h 166424"/>
                  <a:gd name="connsiteX9" fmla="*/ 18988 w 121144"/>
                  <a:gd name="connsiteY9" fmla="*/ 30192 h 166424"/>
                  <a:gd name="connsiteX10" fmla="*/ 0 w 121144"/>
                  <a:gd name="connsiteY10" fmla="*/ 49182 h 166424"/>
                  <a:gd name="connsiteX11" fmla="*/ 0 w 121144"/>
                  <a:gd name="connsiteY11" fmla="*/ 147434 h 166424"/>
                  <a:gd name="connsiteX12" fmla="*/ 18988 w 121144"/>
                  <a:gd name="connsiteY12" fmla="*/ 166424 h 166424"/>
                  <a:gd name="connsiteX13" fmla="*/ 55909 w 121144"/>
                  <a:gd name="connsiteY13" fmla="*/ 166424 h 166424"/>
                  <a:gd name="connsiteX14" fmla="*/ 69544 w 121144"/>
                  <a:gd name="connsiteY14" fmla="*/ 131757 h 166424"/>
                  <a:gd name="connsiteX15" fmla="*/ 53774 w 121144"/>
                  <a:gd name="connsiteY15" fmla="*/ 98306 h 16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144" h="166424">
                    <a:moveTo>
                      <a:pt x="53774" y="98306"/>
                    </a:moveTo>
                    <a:cubicBezTo>
                      <a:pt x="53774" y="74370"/>
                      <a:pt x="73243" y="54899"/>
                      <a:pt x="97177" y="54899"/>
                    </a:cubicBezTo>
                    <a:cubicBezTo>
                      <a:pt x="98040" y="54899"/>
                      <a:pt x="98894" y="54928"/>
                      <a:pt x="99748" y="54977"/>
                    </a:cubicBezTo>
                    <a:lnTo>
                      <a:pt x="121144" y="584"/>
                    </a:lnTo>
                    <a:cubicBezTo>
                      <a:pt x="119648" y="206"/>
                      <a:pt x="118098" y="0"/>
                      <a:pt x="116528" y="0"/>
                    </a:cubicBezTo>
                    <a:lnTo>
                      <a:pt x="76084" y="0"/>
                    </a:lnTo>
                    <a:cubicBezTo>
                      <a:pt x="69421" y="0"/>
                      <a:pt x="63165" y="3558"/>
                      <a:pt x="59760" y="9284"/>
                    </a:cubicBezTo>
                    <a:lnTo>
                      <a:pt x="49167" y="27106"/>
                    </a:lnTo>
                    <a:cubicBezTo>
                      <a:pt x="48039" y="29010"/>
                      <a:pt x="45958" y="30192"/>
                      <a:pt x="43746" y="30192"/>
                    </a:cubicBezTo>
                    <a:lnTo>
                      <a:pt x="18988" y="30192"/>
                    </a:lnTo>
                    <a:cubicBezTo>
                      <a:pt x="8518" y="30192"/>
                      <a:pt x="0" y="38711"/>
                      <a:pt x="0" y="49182"/>
                    </a:cubicBezTo>
                    <a:lnTo>
                      <a:pt x="0" y="147434"/>
                    </a:lnTo>
                    <a:cubicBezTo>
                      <a:pt x="0" y="157906"/>
                      <a:pt x="8518" y="166424"/>
                      <a:pt x="18988" y="166424"/>
                    </a:cubicBezTo>
                    <a:lnTo>
                      <a:pt x="55909" y="166424"/>
                    </a:lnTo>
                    <a:lnTo>
                      <a:pt x="69544" y="131757"/>
                    </a:lnTo>
                    <a:cubicBezTo>
                      <a:pt x="59917" y="123788"/>
                      <a:pt x="53774" y="111751"/>
                      <a:pt x="53774" y="98306"/>
                    </a:cubicBezTo>
                    <a:close/>
                  </a:path>
                </a:pathLst>
              </a:custGeom>
              <a:noFill/>
              <a:ln w="490" cap="flat">
                <a:noFill/>
                <a:prstDash val="solid"/>
                <a:miter/>
              </a:ln>
            </p:spPr>
            <p:txBody>
              <a:bodyPr rtlCol="0" anchor="ctr"/>
              <a:lstStyle/>
              <a:p>
                <a:endParaRPr/>
              </a:p>
            </p:txBody>
          </p:sp>
          <p:sp>
            <p:nvSpPr>
              <p:cNvPr id="26" name="Forma Livre 33">
                <a:extLst>
                  <a:ext uri="{FF2B5EF4-FFF2-40B4-BE49-F238E27FC236}">
                    <a16:creationId xmlns:a16="http://schemas.microsoft.com/office/drawing/2014/main" id="{E5B81C33-6260-B2AF-516B-AFD19E676C7F}"/>
                  </a:ext>
                </a:extLst>
              </p:cNvPr>
              <p:cNvSpPr/>
              <p:nvPr/>
            </p:nvSpPr>
            <p:spPr>
              <a:xfrm>
                <a:off x="3496936" y="874966"/>
                <a:ext cx="33692" cy="59231"/>
              </a:xfrm>
              <a:custGeom>
                <a:avLst/>
                <a:gdLst>
                  <a:gd name="connsiteX0" fmla="*/ 0 w 33692"/>
                  <a:gd name="connsiteY0" fmla="*/ 34555 h 59231"/>
                  <a:gd name="connsiteX1" fmla="*/ 10392 w 33692"/>
                  <a:gd name="connsiteY1" fmla="*/ 59232 h 59231"/>
                  <a:gd name="connsiteX2" fmla="*/ 33692 w 33692"/>
                  <a:gd name="connsiteY2" fmla="*/ 0 h 59231"/>
                  <a:gd name="connsiteX3" fmla="*/ 0 w 33692"/>
                  <a:gd name="connsiteY3" fmla="*/ 34555 h 59231"/>
                </a:gdLst>
                <a:ahLst/>
                <a:cxnLst>
                  <a:cxn ang="0">
                    <a:pos x="connsiteX0" y="connsiteY0"/>
                  </a:cxn>
                  <a:cxn ang="0">
                    <a:pos x="connsiteX1" y="connsiteY1"/>
                  </a:cxn>
                  <a:cxn ang="0">
                    <a:pos x="connsiteX2" y="connsiteY2"/>
                  </a:cxn>
                  <a:cxn ang="0">
                    <a:pos x="connsiteX3" y="connsiteY3"/>
                  </a:cxn>
                </a:cxnLst>
                <a:rect l="l" t="t" r="r" b="b"/>
                <a:pathLst>
                  <a:path w="33692" h="59231">
                    <a:moveTo>
                      <a:pt x="0" y="34555"/>
                    </a:moveTo>
                    <a:cubicBezTo>
                      <a:pt x="0" y="44212"/>
                      <a:pt x="3984" y="52956"/>
                      <a:pt x="10392" y="59232"/>
                    </a:cubicBezTo>
                    <a:lnTo>
                      <a:pt x="33692" y="0"/>
                    </a:lnTo>
                    <a:cubicBezTo>
                      <a:pt x="15033" y="471"/>
                      <a:pt x="0" y="15786"/>
                      <a:pt x="0" y="34555"/>
                    </a:cubicBezTo>
                    <a:close/>
                  </a:path>
                </a:pathLst>
              </a:custGeom>
              <a:noFill/>
              <a:ln w="490" cap="flat">
                <a:noFill/>
                <a:prstDash val="solid"/>
                <a:miter/>
              </a:ln>
            </p:spPr>
            <p:txBody>
              <a:bodyPr rtlCol="0" anchor="ctr"/>
              <a:lstStyle/>
              <a:p>
                <a:endParaRPr/>
              </a:p>
            </p:txBody>
          </p:sp>
          <p:sp>
            <p:nvSpPr>
              <p:cNvPr id="27" name="Forma Livre 34">
                <a:extLst>
                  <a:ext uri="{FF2B5EF4-FFF2-40B4-BE49-F238E27FC236}">
                    <a16:creationId xmlns:a16="http://schemas.microsoft.com/office/drawing/2014/main" id="{E494DB7D-9566-33D4-18D8-AB2BB2B3F29D}"/>
                  </a:ext>
                </a:extLst>
              </p:cNvPr>
              <p:cNvSpPr/>
              <p:nvPr/>
            </p:nvSpPr>
            <p:spPr>
              <a:xfrm>
                <a:off x="3513662" y="821902"/>
                <a:ext cx="123857" cy="164564"/>
              </a:xfrm>
              <a:custGeom>
                <a:avLst/>
                <a:gdLst>
                  <a:gd name="connsiteX0" fmla="*/ 96033 w 123857"/>
                  <a:gd name="connsiteY0" fmla="*/ 10668 h 164564"/>
                  <a:gd name="connsiteX1" fmla="*/ 71070 w 123857"/>
                  <a:gd name="connsiteY1" fmla="*/ 10668 h 164564"/>
                  <a:gd name="connsiteX2" fmla="*/ 64667 w 123857"/>
                  <a:gd name="connsiteY2" fmla="*/ 0 h 164564"/>
                  <a:gd name="connsiteX3" fmla="*/ 60589 w 123857"/>
                  <a:gd name="connsiteY3" fmla="*/ 10368 h 164564"/>
                  <a:gd name="connsiteX4" fmla="*/ 64235 w 123857"/>
                  <a:gd name="connsiteY4" fmla="*/ 16438 h 164564"/>
                  <a:gd name="connsiteX5" fmla="*/ 69642 w 123857"/>
                  <a:gd name="connsiteY5" fmla="*/ 19500 h 164564"/>
                  <a:gd name="connsiteX6" fmla="*/ 96038 w 123857"/>
                  <a:gd name="connsiteY6" fmla="*/ 19500 h 164564"/>
                  <a:gd name="connsiteX7" fmla="*/ 115026 w 123857"/>
                  <a:gd name="connsiteY7" fmla="*/ 38490 h 164564"/>
                  <a:gd name="connsiteX8" fmla="*/ 115026 w 123857"/>
                  <a:gd name="connsiteY8" fmla="*/ 136742 h 164564"/>
                  <a:gd name="connsiteX9" fmla="*/ 96038 w 123857"/>
                  <a:gd name="connsiteY9" fmla="*/ 155732 h 164564"/>
                  <a:gd name="connsiteX10" fmla="*/ 3469 w 123857"/>
                  <a:gd name="connsiteY10" fmla="*/ 155732 h 164564"/>
                  <a:gd name="connsiteX11" fmla="*/ 0 w 123857"/>
                  <a:gd name="connsiteY11" fmla="*/ 164564 h 164564"/>
                  <a:gd name="connsiteX12" fmla="*/ 96038 w 123857"/>
                  <a:gd name="connsiteY12" fmla="*/ 164564 h 164564"/>
                  <a:gd name="connsiteX13" fmla="*/ 123858 w 123857"/>
                  <a:gd name="connsiteY13" fmla="*/ 136742 h 164564"/>
                  <a:gd name="connsiteX14" fmla="*/ 123858 w 123857"/>
                  <a:gd name="connsiteY14" fmla="*/ 38490 h 164564"/>
                  <a:gd name="connsiteX15" fmla="*/ 96033 w 123857"/>
                  <a:gd name="connsiteY15" fmla="*/ 10668 h 16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857" h="164564">
                    <a:moveTo>
                      <a:pt x="96033" y="10668"/>
                    </a:moveTo>
                    <a:lnTo>
                      <a:pt x="71070" y="10668"/>
                    </a:lnTo>
                    <a:lnTo>
                      <a:pt x="64667" y="0"/>
                    </a:lnTo>
                    <a:lnTo>
                      <a:pt x="60589" y="10368"/>
                    </a:lnTo>
                    <a:lnTo>
                      <a:pt x="64235" y="16438"/>
                    </a:lnTo>
                    <a:cubicBezTo>
                      <a:pt x="65368" y="18328"/>
                      <a:pt x="67439" y="19500"/>
                      <a:pt x="69642" y="19500"/>
                    </a:cubicBezTo>
                    <a:lnTo>
                      <a:pt x="96038" y="19500"/>
                    </a:lnTo>
                    <a:cubicBezTo>
                      <a:pt x="106509" y="19500"/>
                      <a:pt x="115026" y="28019"/>
                      <a:pt x="115026" y="38490"/>
                    </a:cubicBezTo>
                    <a:lnTo>
                      <a:pt x="115026" y="136742"/>
                    </a:lnTo>
                    <a:cubicBezTo>
                      <a:pt x="115026" y="147213"/>
                      <a:pt x="106509" y="155732"/>
                      <a:pt x="96038" y="155732"/>
                    </a:cubicBezTo>
                    <a:lnTo>
                      <a:pt x="3469" y="155732"/>
                    </a:lnTo>
                    <a:lnTo>
                      <a:pt x="0" y="164564"/>
                    </a:lnTo>
                    <a:lnTo>
                      <a:pt x="96038" y="164564"/>
                    </a:lnTo>
                    <a:cubicBezTo>
                      <a:pt x="111376" y="164564"/>
                      <a:pt x="123858" y="152081"/>
                      <a:pt x="123858" y="136742"/>
                    </a:cubicBezTo>
                    <a:lnTo>
                      <a:pt x="123858" y="38490"/>
                    </a:lnTo>
                    <a:cubicBezTo>
                      <a:pt x="123853" y="23151"/>
                      <a:pt x="111371" y="10668"/>
                      <a:pt x="96033" y="10668"/>
                    </a:cubicBezTo>
                    <a:close/>
                  </a:path>
                </a:pathLst>
              </a:custGeom>
              <a:solidFill>
                <a:srgbClr val="001638"/>
              </a:solidFill>
              <a:ln w="9525" cap="flat">
                <a:solidFill>
                  <a:srgbClr val="001638"/>
                </a:solidFill>
                <a:prstDash val="solid"/>
                <a:miter/>
              </a:ln>
            </p:spPr>
            <p:txBody>
              <a:bodyPr rtlCol="0" anchor="ctr"/>
              <a:lstStyle/>
              <a:p>
                <a:endParaRPr/>
              </a:p>
            </p:txBody>
          </p:sp>
          <p:sp>
            <p:nvSpPr>
              <p:cNvPr id="28" name="Forma Livre 35">
                <a:extLst>
                  <a:ext uri="{FF2B5EF4-FFF2-40B4-BE49-F238E27FC236}">
                    <a16:creationId xmlns:a16="http://schemas.microsoft.com/office/drawing/2014/main" id="{A98762F3-8BAD-1E41-BE62-090668E140EC}"/>
                  </a:ext>
                </a:extLst>
              </p:cNvPr>
              <p:cNvSpPr/>
              <p:nvPr/>
            </p:nvSpPr>
            <p:spPr>
              <a:xfrm>
                <a:off x="3425498" y="802378"/>
                <a:ext cx="133228" cy="184093"/>
              </a:xfrm>
              <a:custGeom>
                <a:avLst/>
                <a:gdLst>
                  <a:gd name="connsiteX0" fmla="*/ 27819 w 133228"/>
                  <a:gd name="connsiteY0" fmla="*/ 175257 h 184093"/>
                  <a:gd name="connsiteX1" fmla="*/ 8832 w 133228"/>
                  <a:gd name="connsiteY1" fmla="*/ 156267 h 184093"/>
                  <a:gd name="connsiteX2" fmla="*/ 8832 w 133228"/>
                  <a:gd name="connsiteY2" fmla="*/ 58015 h 184093"/>
                  <a:gd name="connsiteX3" fmla="*/ 27819 w 133228"/>
                  <a:gd name="connsiteY3" fmla="*/ 39025 h 184093"/>
                  <a:gd name="connsiteX4" fmla="*/ 52577 w 133228"/>
                  <a:gd name="connsiteY4" fmla="*/ 39025 h 184093"/>
                  <a:gd name="connsiteX5" fmla="*/ 57999 w 133228"/>
                  <a:gd name="connsiteY5" fmla="*/ 35938 h 184093"/>
                  <a:gd name="connsiteX6" fmla="*/ 68592 w 133228"/>
                  <a:gd name="connsiteY6" fmla="*/ 18116 h 184093"/>
                  <a:gd name="connsiteX7" fmla="*/ 84915 w 133228"/>
                  <a:gd name="connsiteY7" fmla="*/ 8833 h 184093"/>
                  <a:gd name="connsiteX8" fmla="*/ 125359 w 133228"/>
                  <a:gd name="connsiteY8" fmla="*/ 8833 h 184093"/>
                  <a:gd name="connsiteX9" fmla="*/ 129976 w 133228"/>
                  <a:gd name="connsiteY9" fmla="*/ 9416 h 184093"/>
                  <a:gd name="connsiteX10" fmla="*/ 133229 w 133228"/>
                  <a:gd name="connsiteY10" fmla="*/ 1153 h 184093"/>
                  <a:gd name="connsiteX11" fmla="*/ 125359 w 133228"/>
                  <a:gd name="connsiteY11" fmla="*/ 0 h 184093"/>
                  <a:gd name="connsiteX12" fmla="*/ 84915 w 133228"/>
                  <a:gd name="connsiteY12" fmla="*/ 0 h 184093"/>
                  <a:gd name="connsiteX13" fmla="*/ 61002 w 133228"/>
                  <a:gd name="connsiteY13" fmla="*/ 13607 h 184093"/>
                  <a:gd name="connsiteX14" fmla="*/ 51140 w 133228"/>
                  <a:gd name="connsiteY14" fmla="*/ 30197 h 184093"/>
                  <a:gd name="connsiteX15" fmla="*/ 27819 w 133228"/>
                  <a:gd name="connsiteY15" fmla="*/ 30197 h 184093"/>
                  <a:gd name="connsiteX16" fmla="*/ 0 w 133228"/>
                  <a:gd name="connsiteY16" fmla="*/ 58020 h 184093"/>
                  <a:gd name="connsiteX17" fmla="*/ 0 w 133228"/>
                  <a:gd name="connsiteY17" fmla="*/ 156272 h 184093"/>
                  <a:gd name="connsiteX18" fmla="*/ 27819 w 133228"/>
                  <a:gd name="connsiteY18" fmla="*/ 184094 h 184093"/>
                  <a:gd name="connsiteX19" fmla="*/ 61262 w 133228"/>
                  <a:gd name="connsiteY19" fmla="*/ 184094 h 184093"/>
                  <a:gd name="connsiteX20" fmla="*/ 64735 w 133228"/>
                  <a:gd name="connsiteY20" fmla="*/ 175261 h 184093"/>
                  <a:gd name="connsiteX21" fmla="*/ 27819 w 133228"/>
                  <a:gd name="connsiteY21" fmla="*/ 175261 h 18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228" h="184093">
                    <a:moveTo>
                      <a:pt x="27819" y="175257"/>
                    </a:moveTo>
                    <a:cubicBezTo>
                      <a:pt x="17349" y="175257"/>
                      <a:pt x="8832" y="166738"/>
                      <a:pt x="8832" y="156267"/>
                    </a:cubicBezTo>
                    <a:lnTo>
                      <a:pt x="8832" y="58015"/>
                    </a:lnTo>
                    <a:cubicBezTo>
                      <a:pt x="8832" y="47543"/>
                      <a:pt x="17349" y="39025"/>
                      <a:pt x="27819" y="39025"/>
                    </a:cubicBezTo>
                    <a:lnTo>
                      <a:pt x="52577" y="39025"/>
                    </a:lnTo>
                    <a:cubicBezTo>
                      <a:pt x="54790" y="39025"/>
                      <a:pt x="56865" y="37842"/>
                      <a:pt x="57999" y="35938"/>
                    </a:cubicBezTo>
                    <a:lnTo>
                      <a:pt x="68592" y="18116"/>
                    </a:lnTo>
                    <a:cubicBezTo>
                      <a:pt x="71997" y="12390"/>
                      <a:pt x="78253" y="8833"/>
                      <a:pt x="84915" y="8833"/>
                    </a:cubicBezTo>
                    <a:lnTo>
                      <a:pt x="125359" y="8833"/>
                    </a:lnTo>
                    <a:cubicBezTo>
                      <a:pt x="126934" y="8833"/>
                      <a:pt x="128480" y="9039"/>
                      <a:pt x="129976" y="9416"/>
                    </a:cubicBezTo>
                    <a:lnTo>
                      <a:pt x="133229" y="1153"/>
                    </a:lnTo>
                    <a:cubicBezTo>
                      <a:pt x="130702" y="402"/>
                      <a:pt x="128053" y="0"/>
                      <a:pt x="125359" y="0"/>
                    </a:cubicBezTo>
                    <a:lnTo>
                      <a:pt x="84915" y="0"/>
                    </a:lnTo>
                    <a:cubicBezTo>
                      <a:pt x="75152" y="0"/>
                      <a:pt x="65991" y="5211"/>
                      <a:pt x="61002" y="13607"/>
                    </a:cubicBezTo>
                    <a:lnTo>
                      <a:pt x="51140" y="30197"/>
                    </a:lnTo>
                    <a:lnTo>
                      <a:pt x="27819" y="30197"/>
                    </a:lnTo>
                    <a:cubicBezTo>
                      <a:pt x="12482" y="30197"/>
                      <a:pt x="0" y="42681"/>
                      <a:pt x="0" y="58020"/>
                    </a:cubicBezTo>
                    <a:lnTo>
                      <a:pt x="0" y="156272"/>
                    </a:lnTo>
                    <a:cubicBezTo>
                      <a:pt x="0" y="171611"/>
                      <a:pt x="12482" y="184094"/>
                      <a:pt x="27819" y="184094"/>
                    </a:cubicBezTo>
                    <a:lnTo>
                      <a:pt x="61262" y="184094"/>
                    </a:lnTo>
                    <a:lnTo>
                      <a:pt x="64735" y="175261"/>
                    </a:lnTo>
                    <a:lnTo>
                      <a:pt x="27819" y="175261"/>
                    </a:lnTo>
                    <a:close/>
                  </a:path>
                </a:pathLst>
              </a:custGeom>
              <a:solidFill>
                <a:srgbClr val="001638"/>
              </a:solidFill>
              <a:ln w="9525" cap="flat">
                <a:solidFill>
                  <a:srgbClr val="001638"/>
                </a:solidFill>
                <a:prstDash val="solid"/>
                <a:miter/>
              </a:ln>
            </p:spPr>
            <p:txBody>
              <a:bodyPr rtlCol="0" anchor="ctr"/>
              <a:lstStyle/>
              <a:p>
                <a:endParaRPr/>
              </a:p>
            </p:txBody>
          </p:sp>
          <p:sp>
            <p:nvSpPr>
              <p:cNvPr id="29" name="Forma Livre 36">
                <a:extLst>
                  <a:ext uri="{FF2B5EF4-FFF2-40B4-BE49-F238E27FC236}">
                    <a16:creationId xmlns:a16="http://schemas.microsoft.com/office/drawing/2014/main" id="{801CC633-56FC-952B-4A47-EF499B3B4938}"/>
                  </a:ext>
                </a:extLst>
              </p:cNvPr>
              <p:cNvSpPr/>
              <p:nvPr/>
            </p:nvSpPr>
            <p:spPr>
              <a:xfrm>
                <a:off x="3526929" y="874804"/>
                <a:ext cx="47979" cy="78123"/>
              </a:xfrm>
              <a:custGeom>
                <a:avLst/>
                <a:gdLst>
                  <a:gd name="connsiteX0" fmla="*/ 39148 w 47979"/>
                  <a:gd name="connsiteY0" fmla="*/ 34717 h 78123"/>
                  <a:gd name="connsiteX1" fmla="*/ 4578 w 47979"/>
                  <a:gd name="connsiteY1" fmla="*/ 69291 h 78123"/>
                  <a:gd name="connsiteX2" fmla="*/ 3390 w 47979"/>
                  <a:gd name="connsiteY2" fmla="*/ 69262 h 78123"/>
                  <a:gd name="connsiteX3" fmla="*/ 0 w 47979"/>
                  <a:gd name="connsiteY3" fmla="*/ 77883 h 78123"/>
                  <a:gd name="connsiteX4" fmla="*/ 4578 w 47979"/>
                  <a:gd name="connsiteY4" fmla="*/ 78124 h 78123"/>
                  <a:gd name="connsiteX5" fmla="*/ 47980 w 47979"/>
                  <a:gd name="connsiteY5" fmla="*/ 34717 h 78123"/>
                  <a:gd name="connsiteX6" fmla="*/ 30606 w 47979"/>
                  <a:gd name="connsiteY6" fmla="*/ 0 h 78123"/>
                  <a:gd name="connsiteX7" fmla="*/ 27221 w 47979"/>
                  <a:gd name="connsiteY7" fmla="*/ 8621 h 78123"/>
                  <a:gd name="connsiteX8" fmla="*/ 39148 w 47979"/>
                  <a:gd name="connsiteY8" fmla="*/ 34717 h 7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79" h="78123">
                    <a:moveTo>
                      <a:pt x="39148" y="34717"/>
                    </a:moveTo>
                    <a:cubicBezTo>
                      <a:pt x="39148" y="53780"/>
                      <a:pt x="23639" y="69291"/>
                      <a:pt x="4578" y="69291"/>
                    </a:cubicBezTo>
                    <a:cubicBezTo>
                      <a:pt x="4180" y="69291"/>
                      <a:pt x="3783" y="69276"/>
                      <a:pt x="3390" y="69262"/>
                    </a:cubicBezTo>
                    <a:lnTo>
                      <a:pt x="0" y="77883"/>
                    </a:lnTo>
                    <a:cubicBezTo>
                      <a:pt x="1506" y="78040"/>
                      <a:pt x="3032" y="78124"/>
                      <a:pt x="4578" y="78124"/>
                    </a:cubicBezTo>
                    <a:cubicBezTo>
                      <a:pt x="28511" y="78124"/>
                      <a:pt x="47980" y="58653"/>
                      <a:pt x="47980" y="34717"/>
                    </a:cubicBezTo>
                    <a:cubicBezTo>
                      <a:pt x="47980" y="20540"/>
                      <a:pt x="41150" y="7930"/>
                      <a:pt x="30606" y="0"/>
                    </a:cubicBezTo>
                    <a:lnTo>
                      <a:pt x="27221" y="8621"/>
                    </a:lnTo>
                    <a:cubicBezTo>
                      <a:pt x="34522" y="14966"/>
                      <a:pt x="39148" y="24309"/>
                      <a:pt x="39148" y="34717"/>
                    </a:cubicBezTo>
                    <a:close/>
                  </a:path>
                </a:pathLst>
              </a:custGeom>
              <a:solidFill>
                <a:srgbClr val="001638"/>
              </a:solidFill>
              <a:ln w="490" cap="flat">
                <a:noFill/>
                <a:prstDash val="solid"/>
                <a:miter/>
              </a:ln>
            </p:spPr>
            <p:txBody>
              <a:bodyPr rtlCol="0" anchor="ctr"/>
              <a:lstStyle/>
              <a:p>
                <a:endParaRPr/>
              </a:p>
            </p:txBody>
          </p:sp>
          <p:sp>
            <p:nvSpPr>
              <p:cNvPr id="30" name="Forma Livre 37">
                <a:extLst>
                  <a:ext uri="{FF2B5EF4-FFF2-40B4-BE49-F238E27FC236}">
                    <a16:creationId xmlns:a16="http://schemas.microsoft.com/office/drawing/2014/main" id="{CAC9E09E-CDAD-9FAB-19B6-9DAEE182EAAF}"/>
                  </a:ext>
                </a:extLst>
              </p:cNvPr>
              <p:cNvSpPr/>
              <p:nvPr/>
            </p:nvSpPr>
            <p:spPr>
              <a:xfrm>
                <a:off x="3488104" y="866109"/>
                <a:ext cx="45973" cy="76862"/>
              </a:xfrm>
              <a:custGeom>
                <a:avLst/>
                <a:gdLst>
                  <a:gd name="connsiteX0" fmla="*/ 0 w 45973"/>
                  <a:gd name="connsiteY0" fmla="*/ 43412 h 76862"/>
                  <a:gd name="connsiteX1" fmla="*/ 15769 w 45973"/>
                  <a:gd name="connsiteY1" fmla="*/ 76862 h 76862"/>
                  <a:gd name="connsiteX2" fmla="*/ 19218 w 45973"/>
                  <a:gd name="connsiteY2" fmla="*/ 68089 h 76862"/>
                  <a:gd name="connsiteX3" fmla="*/ 8827 w 45973"/>
                  <a:gd name="connsiteY3" fmla="*/ 43412 h 76862"/>
                  <a:gd name="connsiteX4" fmla="*/ 42519 w 45973"/>
                  <a:gd name="connsiteY4" fmla="*/ 8857 h 76862"/>
                  <a:gd name="connsiteX5" fmla="*/ 45973 w 45973"/>
                  <a:gd name="connsiteY5" fmla="*/ 78 h 76862"/>
                  <a:gd name="connsiteX6" fmla="*/ 43402 w 45973"/>
                  <a:gd name="connsiteY6" fmla="*/ 0 h 76862"/>
                  <a:gd name="connsiteX7" fmla="*/ 0 w 45973"/>
                  <a:gd name="connsiteY7" fmla="*/ 43412 h 7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73" h="76862">
                    <a:moveTo>
                      <a:pt x="0" y="43412"/>
                    </a:moveTo>
                    <a:cubicBezTo>
                      <a:pt x="0" y="56857"/>
                      <a:pt x="6143" y="68894"/>
                      <a:pt x="15769" y="76862"/>
                    </a:cubicBezTo>
                    <a:lnTo>
                      <a:pt x="19218" y="68089"/>
                    </a:lnTo>
                    <a:cubicBezTo>
                      <a:pt x="12811" y="61808"/>
                      <a:pt x="8827" y="53069"/>
                      <a:pt x="8827" y="43412"/>
                    </a:cubicBezTo>
                    <a:cubicBezTo>
                      <a:pt x="8827" y="24643"/>
                      <a:pt x="23860" y="9328"/>
                      <a:pt x="42519" y="8857"/>
                    </a:cubicBezTo>
                    <a:lnTo>
                      <a:pt x="45973" y="78"/>
                    </a:lnTo>
                    <a:cubicBezTo>
                      <a:pt x="45124" y="29"/>
                      <a:pt x="44266" y="0"/>
                      <a:pt x="43402" y="0"/>
                    </a:cubicBezTo>
                    <a:cubicBezTo>
                      <a:pt x="19469" y="0"/>
                      <a:pt x="0" y="19476"/>
                      <a:pt x="0" y="43412"/>
                    </a:cubicBezTo>
                    <a:close/>
                  </a:path>
                </a:pathLst>
              </a:custGeom>
              <a:solidFill>
                <a:srgbClr val="001638"/>
              </a:solidFill>
              <a:ln w="490" cap="flat">
                <a:noFill/>
                <a:prstDash val="solid"/>
                <a:miter/>
              </a:ln>
            </p:spPr>
            <p:txBody>
              <a:bodyPr rtlCol="0" anchor="ctr"/>
              <a:lstStyle/>
              <a:p>
                <a:endParaRPr/>
              </a:p>
            </p:txBody>
          </p:sp>
        </p:grpSp>
        <p:grpSp>
          <p:nvGrpSpPr>
            <p:cNvPr id="11" name="Agrupar 38">
              <a:extLst>
                <a:ext uri="{FF2B5EF4-FFF2-40B4-BE49-F238E27FC236}">
                  <a16:creationId xmlns:a16="http://schemas.microsoft.com/office/drawing/2014/main" id="{1675642E-BD49-53C4-5FC1-125BE9823654}"/>
                </a:ext>
              </a:extLst>
            </p:cNvPr>
            <p:cNvGrpSpPr/>
            <p:nvPr/>
          </p:nvGrpSpPr>
          <p:grpSpPr>
            <a:xfrm>
              <a:off x="5020210" y="2000991"/>
              <a:ext cx="236631" cy="133798"/>
              <a:chOff x="3772520" y="845549"/>
              <a:chExt cx="236631" cy="133798"/>
            </a:xfrm>
          </p:grpSpPr>
          <p:sp>
            <p:nvSpPr>
              <p:cNvPr id="16" name="Forma Livre 39">
                <a:extLst>
                  <a:ext uri="{FF2B5EF4-FFF2-40B4-BE49-F238E27FC236}">
                    <a16:creationId xmlns:a16="http://schemas.microsoft.com/office/drawing/2014/main" id="{617AF10B-B2D9-DED3-078D-B1C413DF08E2}"/>
                  </a:ext>
                </a:extLst>
              </p:cNvPr>
              <p:cNvSpPr/>
              <p:nvPr/>
            </p:nvSpPr>
            <p:spPr>
              <a:xfrm>
                <a:off x="3781351" y="854386"/>
                <a:ext cx="93472" cy="116132"/>
              </a:xfrm>
              <a:custGeom>
                <a:avLst/>
                <a:gdLst>
                  <a:gd name="connsiteX0" fmla="*/ 10662 w 93472"/>
                  <a:gd name="connsiteY0" fmla="*/ 0 h 116132"/>
                  <a:gd name="connsiteX1" fmla="*/ 0 w 93472"/>
                  <a:gd name="connsiteY1" fmla="*/ 11796 h 116132"/>
                  <a:gd name="connsiteX2" fmla="*/ 0 w 93472"/>
                  <a:gd name="connsiteY2" fmla="*/ 104336 h 116132"/>
                  <a:gd name="connsiteX3" fmla="*/ 10662 w 93472"/>
                  <a:gd name="connsiteY3" fmla="*/ 116133 h 116132"/>
                  <a:gd name="connsiteX4" fmla="*/ 47789 w 93472"/>
                  <a:gd name="connsiteY4" fmla="*/ 116133 h 116132"/>
                  <a:gd name="connsiteX5" fmla="*/ 93472 w 93472"/>
                  <a:gd name="connsiteY5" fmla="*/ 0 h 116132"/>
                  <a:gd name="connsiteX6" fmla="*/ 10662 w 93472"/>
                  <a:gd name="connsiteY6" fmla="*/ 0 h 11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472" h="116132">
                    <a:moveTo>
                      <a:pt x="10662" y="0"/>
                    </a:moveTo>
                    <a:cubicBezTo>
                      <a:pt x="4784" y="0"/>
                      <a:pt x="0" y="5290"/>
                      <a:pt x="0" y="11796"/>
                    </a:cubicBezTo>
                    <a:lnTo>
                      <a:pt x="0" y="104336"/>
                    </a:lnTo>
                    <a:cubicBezTo>
                      <a:pt x="0" y="110843"/>
                      <a:pt x="4784" y="116133"/>
                      <a:pt x="10662" y="116133"/>
                    </a:cubicBezTo>
                    <a:lnTo>
                      <a:pt x="47789" y="116133"/>
                    </a:lnTo>
                    <a:lnTo>
                      <a:pt x="93472" y="0"/>
                    </a:lnTo>
                    <a:lnTo>
                      <a:pt x="10662" y="0"/>
                    </a:lnTo>
                    <a:close/>
                  </a:path>
                </a:pathLst>
              </a:custGeom>
              <a:noFill/>
              <a:ln w="490" cap="flat">
                <a:noFill/>
                <a:prstDash val="solid"/>
                <a:miter/>
              </a:ln>
            </p:spPr>
            <p:txBody>
              <a:bodyPr rtlCol="0" anchor="ctr"/>
              <a:lstStyle/>
              <a:p>
                <a:endParaRPr/>
              </a:p>
            </p:txBody>
          </p:sp>
          <p:sp>
            <p:nvSpPr>
              <p:cNvPr id="17" name="Forma Livre 40">
                <a:extLst>
                  <a:ext uri="{FF2B5EF4-FFF2-40B4-BE49-F238E27FC236}">
                    <a16:creationId xmlns:a16="http://schemas.microsoft.com/office/drawing/2014/main" id="{D7FAD529-4B0D-784F-6673-23D0AB65E588}"/>
                  </a:ext>
                </a:extLst>
              </p:cNvPr>
              <p:cNvSpPr/>
              <p:nvPr/>
            </p:nvSpPr>
            <p:spPr>
              <a:xfrm>
                <a:off x="3950083" y="848788"/>
                <a:ext cx="59068" cy="127320"/>
              </a:xfrm>
              <a:custGeom>
                <a:avLst/>
                <a:gdLst>
                  <a:gd name="connsiteX0" fmla="*/ 56723 w 59068"/>
                  <a:gd name="connsiteY0" fmla="*/ 515 h 127320"/>
                  <a:gd name="connsiteX1" fmla="*/ 52175 w 59068"/>
                  <a:gd name="connsiteY1" fmla="*/ 760 h 127320"/>
                  <a:gd name="connsiteX2" fmla="*/ 0 w 59068"/>
                  <a:gd name="connsiteY2" fmla="*/ 36125 h 127320"/>
                  <a:gd name="connsiteX3" fmla="*/ 0 w 59068"/>
                  <a:gd name="connsiteY3" fmla="*/ 46792 h 127320"/>
                  <a:gd name="connsiteX4" fmla="*/ 50237 w 59068"/>
                  <a:gd name="connsiteY4" fmla="*/ 12743 h 127320"/>
                  <a:gd name="connsiteX5" fmla="*/ 50237 w 59068"/>
                  <a:gd name="connsiteY5" fmla="*/ 114763 h 127320"/>
                  <a:gd name="connsiteX6" fmla="*/ 0 w 59068"/>
                  <a:gd name="connsiteY6" fmla="*/ 82083 h 127320"/>
                  <a:gd name="connsiteX7" fmla="*/ 0 w 59068"/>
                  <a:gd name="connsiteY7" fmla="*/ 92618 h 127320"/>
                  <a:gd name="connsiteX8" fmla="*/ 52244 w 59068"/>
                  <a:gd name="connsiteY8" fmla="*/ 126604 h 127320"/>
                  <a:gd name="connsiteX9" fmla="*/ 54653 w 59068"/>
                  <a:gd name="connsiteY9" fmla="*/ 127320 h 127320"/>
                  <a:gd name="connsiteX10" fmla="*/ 56757 w 59068"/>
                  <a:gd name="connsiteY10" fmla="*/ 126785 h 127320"/>
                  <a:gd name="connsiteX11" fmla="*/ 59068 w 59068"/>
                  <a:gd name="connsiteY11" fmla="*/ 122904 h 127320"/>
                  <a:gd name="connsiteX12" fmla="*/ 59068 w 59068"/>
                  <a:gd name="connsiteY12" fmla="*/ 4416 h 127320"/>
                  <a:gd name="connsiteX13" fmla="*/ 56723 w 59068"/>
                  <a:gd name="connsiteY13" fmla="*/ 515 h 12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68" h="127320">
                    <a:moveTo>
                      <a:pt x="56723" y="515"/>
                    </a:moveTo>
                    <a:cubicBezTo>
                      <a:pt x="55281" y="-251"/>
                      <a:pt x="53529" y="-157"/>
                      <a:pt x="52175" y="760"/>
                    </a:cubicBezTo>
                    <a:lnTo>
                      <a:pt x="0" y="36125"/>
                    </a:lnTo>
                    <a:lnTo>
                      <a:pt x="0" y="46792"/>
                    </a:lnTo>
                    <a:lnTo>
                      <a:pt x="50237" y="12743"/>
                    </a:lnTo>
                    <a:lnTo>
                      <a:pt x="50237" y="114763"/>
                    </a:lnTo>
                    <a:lnTo>
                      <a:pt x="0" y="82083"/>
                    </a:lnTo>
                    <a:lnTo>
                      <a:pt x="0" y="92618"/>
                    </a:lnTo>
                    <a:lnTo>
                      <a:pt x="52244" y="126604"/>
                    </a:lnTo>
                    <a:cubicBezTo>
                      <a:pt x="52975" y="127080"/>
                      <a:pt x="53814" y="127320"/>
                      <a:pt x="54653" y="127320"/>
                    </a:cubicBezTo>
                    <a:cubicBezTo>
                      <a:pt x="55374" y="127320"/>
                      <a:pt x="56100" y="127144"/>
                      <a:pt x="56757" y="126785"/>
                    </a:cubicBezTo>
                    <a:cubicBezTo>
                      <a:pt x="58180" y="126015"/>
                      <a:pt x="59068" y="124523"/>
                      <a:pt x="59068" y="122904"/>
                    </a:cubicBezTo>
                    <a:lnTo>
                      <a:pt x="59068" y="4416"/>
                    </a:lnTo>
                    <a:cubicBezTo>
                      <a:pt x="59068" y="2782"/>
                      <a:pt x="58166" y="1280"/>
                      <a:pt x="56723" y="515"/>
                    </a:cubicBezTo>
                    <a:close/>
                  </a:path>
                </a:pathLst>
              </a:custGeom>
              <a:solidFill>
                <a:srgbClr val="001638"/>
              </a:solidFill>
              <a:ln w="9525" cap="flat">
                <a:solidFill>
                  <a:srgbClr val="001638"/>
                </a:solidFill>
                <a:prstDash val="solid"/>
                <a:miter/>
              </a:ln>
            </p:spPr>
            <p:txBody>
              <a:bodyPr rtlCol="0" anchor="ctr"/>
              <a:lstStyle/>
              <a:p>
                <a:endParaRPr/>
              </a:p>
            </p:txBody>
          </p:sp>
          <p:sp>
            <p:nvSpPr>
              <p:cNvPr id="18" name="Forma Livre 41">
                <a:extLst>
                  <a:ext uri="{FF2B5EF4-FFF2-40B4-BE49-F238E27FC236}">
                    <a16:creationId xmlns:a16="http://schemas.microsoft.com/office/drawing/2014/main" id="{B508E74C-6CEE-BD94-A5A2-617A90489FC6}"/>
                  </a:ext>
                </a:extLst>
              </p:cNvPr>
              <p:cNvSpPr/>
              <p:nvPr/>
            </p:nvSpPr>
            <p:spPr>
              <a:xfrm>
                <a:off x="3901666" y="845554"/>
                <a:ext cx="48416" cy="47690"/>
              </a:xfrm>
              <a:custGeom>
                <a:avLst/>
                <a:gdLst>
                  <a:gd name="connsiteX0" fmla="*/ 28923 w 48416"/>
                  <a:gd name="connsiteY0" fmla="*/ 8833 h 47690"/>
                  <a:gd name="connsiteX1" fmla="*/ 39585 w 48416"/>
                  <a:gd name="connsiteY1" fmla="*/ 20629 h 47690"/>
                  <a:gd name="connsiteX2" fmla="*/ 39585 w 48416"/>
                  <a:gd name="connsiteY2" fmla="*/ 47691 h 47690"/>
                  <a:gd name="connsiteX3" fmla="*/ 41523 w 48416"/>
                  <a:gd name="connsiteY3" fmla="*/ 44035 h 47690"/>
                  <a:gd name="connsiteX4" fmla="*/ 48417 w 48416"/>
                  <a:gd name="connsiteY4" fmla="*/ 39364 h 47690"/>
                  <a:gd name="connsiteX5" fmla="*/ 48417 w 48416"/>
                  <a:gd name="connsiteY5" fmla="*/ 20629 h 47690"/>
                  <a:gd name="connsiteX6" fmla="*/ 28923 w 48416"/>
                  <a:gd name="connsiteY6" fmla="*/ 0 h 47690"/>
                  <a:gd name="connsiteX7" fmla="*/ 3469 w 48416"/>
                  <a:gd name="connsiteY7" fmla="*/ 0 h 47690"/>
                  <a:gd name="connsiteX8" fmla="*/ 0 w 48416"/>
                  <a:gd name="connsiteY8" fmla="*/ 8833 h 47690"/>
                  <a:gd name="connsiteX9" fmla="*/ 28923 w 48416"/>
                  <a:gd name="connsiteY9" fmla="*/ 8833 h 4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6" h="47690">
                    <a:moveTo>
                      <a:pt x="28923" y="8833"/>
                    </a:moveTo>
                    <a:cubicBezTo>
                      <a:pt x="34801" y="8833"/>
                      <a:pt x="39585" y="14122"/>
                      <a:pt x="39585" y="20629"/>
                    </a:cubicBezTo>
                    <a:lnTo>
                      <a:pt x="39585" y="47691"/>
                    </a:lnTo>
                    <a:cubicBezTo>
                      <a:pt x="39585" y="46228"/>
                      <a:pt x="40311" y="44854"/>
                      <a:pt x="41523" y="44035"/>
                    </a:cubicBezTo>
                    <a:lnTo>
                      <a:pt x="48417" y="39364"/>
                    </a:lnTo>
                    <a:lnTo>
                      <a:pt x="48417" y="20629"/>
                    </a:lnTo>
                    <a:cubicBezTo>
                      <a:pt x="48417" y="9254"/>
                      <a:pt x="39673" y="0"/>
                      <a:pt x="28923" y="0"/>
                    </a:cubicBezTo>
                    <a:lnTo>
                      <a:pt x="3469" y="0"/>
                    </a:lnTo>
                    <a:lnTo>
                      <a:pt x="0" y="8833"/>
                    </a:lnTo>
                    <a:lnTo>
                      <a:pt x="28923" y="8833"/>
                    </a:lnTo>
                    <a:close/>
                  </a:path>
                </a:pathLst>
              </a:custGeom>
              <a:solidFill>
                <a:srgbClr val="001638"/>
              </a:solidFill>
              <a:ln w="9525" cap="flat">
                <a:solidFill>
                  <a:srgbClr val="001638"/>
                </a:solidFill>
                <a:prstDash val="solid"/>
                <a:miter/>
              </a:ln>
            </p:spPr>
            <p:txBody>
              <a:bodyPr rtlCol="0" anchor="ctr"/>
              <a:lstStyle/>
              <a:p>
                <a:endParaRPr/>
              </a:p>
            </p:txBody>
          </p:sp>
          <p:sp>
            <p:nvSpPr>
              <p:cNvPr id="19" name="Forma Livre 42">
                <a:extLst>
                  <a:ext uri="{FF2B5EF4-FFF2-40B4-BE49-F238E27FC236}">
                    <a16:creationId xmlns:a16="http://schemas.microsoft.com/office/drawing/2014/main" id="{273A442E-4BFF-9FE0-20EF-CF37474C966F}"/>
                  </a:ext>
                </a:extLst>
              </p:cNvPr>
              <p:cNvSpPr/>
              <p:nvPr/>
            </p:nvSpPr>
            <p:spPr>
              <a:xfrm>
                <a:off x="3772520" y="845549"/>
                <a:ext cx="105772" cy="133797"/>
              </a:xfrm>
              <a:custGeom>
                <a:avLst/>
                <a:gdLst>
                  <a:gd name="connsiteX0" fmla="*/ 19493 w 105772"/>
                  <a:gd name="connsiteY0" fmla="*/ 124965 h 133797"/>
                  <a:gd name="connsiteX1" fmla="*/ 8832 w 105772"/>
                  <a:gd name="connsiteY1" fmla="*/ 113169 h 133797"/>
                  <a:gd name="connsiteX2" fmla="*/ 8832 w 105772"/>
                  <a:gd name="connsiteY2" fmla="*/ 20629 h 133797"/>
                  <a:gd name="connsiteX3" fmla="*/ 19493 w 105772"/>
                  <a:gd name="connsiteY3" fmla="*/ 8833 h 133797"/>
                  <a:gd name="connsiteX4" fmla="*/ 102299 w 105772"/>
                  <a:gd name="connsiteY4" fmla="*/ 8833 h 133797"/>
                  <a:gd name="connsiteX5" fmla="*/ 105773 w 105772"/>
                  <a:gd name="connsiteY5" fmla="*/ 0 h 133797"/>
                  <a:gd name="connsiteX6" fmla="*/ 19493 w 105772"/>
                  <a:gd name="connsiteY6" fmla="*/ 0 h 133797"/>
                  <a:gd name="connsiteX7" fmla="*/ 0 w 105772"/>
                  <a:gd name="connsiteY7" fmla="*/ 20629 h 133797"/>
                  <a:gd name="connsiteX8" fmla="*/ 0 w 105772"/>
                  <a:gd name="connsiteY8" fmla="*/ 113169 h 133797"/>
                  <a:gd name="connsiteX9" fmla="*/ 19493 w 105772"/>
                  <a:gd name="connsiteY9" fmla="*/ 133798 h 133797"/>
                  <a:gd name="connsiteX10" fmla="*/ 53146 w 105772"/>
                  <a:gd name="connsiteY10" fmla="*/ 133798 h 133797"/>
                  <a:gd name="connsiteX11" fmla="*/ 56620 w 105772"/>
                  <a:gd name="connsiteY11" fmla="*/ 124965 h 133797"/>
                  <a:gd name="connsiteX12" fmla="*/ 19493 w 105772"/>
                  <a:gd name="connsiteY12" fmla="*/ 124965 h 133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72" h="133797">
                    <a:moveTo>
                      <a:pt x="19493" y="124965"/>
                    </a:moveTo>
                    <a:cubicBezTo>
                      <a:pt x="13615" y="124965"/>
                      <a:pt x="8832" y="119676"/>
                      <a:pt x="8832" y="113169"/>
                    </a:cubicBezTo>
                    <a:lnTo>
                      <a:pt x="8832" y="20629"/>
                    </a:lnTo>
                    <a:cubicBezTo>
                      <a:pt x="8832" y="14122"/>
                      <a:pt x="13615" y="8833"/>
                      <a:pt x="19493" y="8833"/>
                    </a:cubicBezTo>
                    <a:lnTo>
                      <a:pt x="102299" y="8833"/>
                    </a:lnTo>
                    <a:lnTo>
                      <a:pt x="105773" y="0"/>
                    </a:lnTo>
                    <a:lnTo>
                      <a:pt x="19493" y="0"/>
                    </a:lnTo>
                    <a:cubicBezTo>
                      <a:pt x="8743" y="0"/>
                      <a:pt x="0" y="9254"/>
                      <a:pt x="0" y="20629"/>
                    </a:cubicBezTo>
                    <a:lnTo>
                      <a:pt x="0" y="113169"/>
                    </a:lnTo>
                    <a:cubicBezTo>
                      <a:pt x="0" y="124543"/>
                      <a:pt x="8743" y="133798"/>
                      <a:pt x="19493" y="133798"/>
                    </a:cubicBezTo>
                    <a:lnTo>
                      <a:pt x="53146" y="133798"/>
                    </a:lnTo>
                    <a:lnTo>
                      <a:pt x="56620" y="124965"/>
                    </a:lnTo>
                    <a:lnTo>
                      <a:pt x="19493" y="124965"/>
                    </a:lnTo>
                    <a:close/>
                  </a:path>
                </a:pathLst>
              </a:custGeom>
              <a:solidFill>
                <a:srgbClr val="001638"/>
              </a:solidFill>
              <a:ln w="9525" cap="flat">
                <a:solidFill>
                  <a:srgbClr val="001638"/>
                </a:solidFill>
                <a:prstDash val="solid"/>
                <a:miter/>
              </a:ln>
            </p:spPr>
            <p:txBody>
              <a:bodyPr rtlCol="0" anchor="ctr"/>
              <a:lstStyle/>
              <a:p>
                <a:endParaRPr/>
              </a:p>
            </p:txBody>
          </p:sp>
          <p:sp>
            <p:nvSpPr>
              <p:cNvPr id="20" name="Forma Livre 43">
                <a:extLst>
                  <a:ext uri="{FF2B5EF4-FFF2-40B4-BE49-F238E27FC236}">
                    <a16:creationId xmlns:a16="http://schemas.microsoft.com/office/drawing/2014/main" id="{156B8323-FA25-300C-26D8-128103062C77}"/>
                  </a:ext>
                </a:extLst>
              </p:cNvPr>
              <p:cNvSpPr/>
              <p:nvPr/>
            </p:nvSpPr>
            <p:spPr>
              <a:xfrm>
                <a:off x="3852558" y="933266"/>
                <a:ext cx="97529" cy="46081"/>
              </a:xfrm>
              <a:custGeom>
                <a:avLst/>
                <a:gdLst>
                  <a:gd name="connsiteX0" fmla="*/ 88693 w 97529"/>
                  <a:gd name="connsiteY0" fmla="*/ 0 h 46081"/>
                  <a:gd name="connsiteX1" fmla="*/ 88693 w 97529"/>
                  <a:gd name="connsiteY1" fmla="*/ 25452 h 46081"/>
                  <a:gd name="connsiteX2" fmla="*/ 78032 w 97529"/>
                  <a:gd name="connsiteY2" fmla="*/ 37249 h 46081"/>
                  <a:gd name="connsiteX3" fmla="*/ 3469 w 97529"/>
                  <a:gd name="connsiteY3" fmla="*/ 37249 h 46081"/>
                  <a:gd name="connsiteX4" fmla="*/ 0 w 97529"/>
                  <a:gd name="connsiteY4" fmla="*/ 46081 h 46081"/>
                  <a:gd name="connsiteX5" fmla="*/ 78037 w 97529"/>
                  <a:gd name="connsiteY5" fmla="*/ 46081 h 46081"/>
                  <a:gd name="connsiteX6" fmla="*/ 97530 w 97529"/>
                  <a:gd name="connsiteY6" fmla="*/ 25452 h 46081"/>
                  <a:gd name="connsiteX7" fmla="*/ 97530 w 97529"/>
                  <a:gd name="connsiteY7" fmla="*/ 8141 h 46081"/>
                  <a:gd name="connsiteX8" fmla="*/ 90705 w 97529"/>
                  <a:gd name="connsiteY8" fmla="*/ 3700 h 46081"/>
                  <a:gd name="connsiteX9" fmla="*/ 88693 w 97529"/>
                  <a:gd name="connsiteY9" fmla="*/ 0 h 46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29" h="46081">
                    <a:moveTo>
                      <a:pt x="88693" y="0"/>
                    </a:moveTo>
                    <a:lnTo>
                      <a:pt x="88693" y="25452"/>
                    </a:lnTo>
                    <a:cubicBezTo>
                      <a:pt x="88693" y="31959"/>
                      <a:pt x="83910" y="37249"/>
                      <a:pt x="78032" y="37249"/>
                    </a:cubicBezTo>
                    <a:lnTo>
                      <a:pt x="3469" y="37249"/>
                    </a:lnTo>
                    <a:lnTo>
                      <a:pt x="0" y="46081"/>
                    </a:lnTo>
                    <a:lnTo>
                      <a:pt x="78037" y="46081"/>
                    </a:lnTo>
                    <a:cubicBezTo>
                      <a:pt x="88787" y="46081"/>
                      <a:pt x="97530" y="36827"/>
                      <a:pt x="97530" y="25452"/>
                    </a:cubicBezTo>
                    <a:lnTo>
                      <a:pt x="97530" y="8141"/>
                    </a:lnTo>
                    <a:lnTo>
                      <a:pt x="90705" y="3700"/>
                    </a:lnTo>
                    <a:cubicBezTo>
                      <a:pt x="89449" y="2890"/>
                      <a:pt x="88693" y="1497"/>
                      <a:pt x="88693" y="0"/>
                    </a:cubicBezTo>
                    <a:close/>
                  </a:path>
                </a:pathLst>
              </a:custGeom>
              <a:solidFill>
                <a:srgbClr val="001638"/>
              </a:solidFill>
              <a:ln w="9525" cap="flat">
                <a:solidFill>
                  <a:srgbClr val="001638"/>
                </a:solidFill>
                <a:prstDash val="solid"/>
                <a:miter/>
              </a:ln>
            </p:spPr>
            <p:txBody>
              <a:bodyPr rtlCol="0" anchor="ctr"/>
              <a:lstStyle/>
              <a:p>
                <a:endParaRPr/>
              </a:p>
            </p:txBody>
          </p:sp>
          <p:sp>
            <p:nvSpPr>
              <p:cNvPr id="21" name="Forma Livre 44">
                <a:extLst>
                  <a:ext uri="{FF2B5EF4-FFF2-40B4-BE49-F238E27FC236}">
                    <a16:creationId xmlns:a16="http://schemas.microsoft.com/office/drawing/2014/main" id="{D908B348-73CD-7878-EBA1-CCB77AB276E8}"/>
                  </a:ext>
                </a:extLst>
              </p:cNvPr>
              <p:cNvSpPr/>
              <p:nvPr/>
            </p:nvSpPr>
            <p:spPr>
              <a:xfrm>
                <a:off x="3941252" y="884917"/>
                <a:ext cx="8831" cy="56493"/>
              </a:xfrm>
              <a:custGeom>
                <a:avLst/>
                <a:gdLst>
                  <a:gd name="connsiteX0" fmla="*/ 8832 w 8831"/>
                  <a:gd name="connsiteY0" fmla="*/ 10668 h 56493"/>
                  <a:gd name="connsiteX1" fmla="*/ 8832 w 8831"/>
                  <a:gd name="connsiteY1" fmla="*/ 0 h 56493"/>
                  <a:gd name="connsiteX2" fmla="*/ 1938 w 8831"/>
                  <a:gd name="connsiteY2" fmla="*/ 4671 h 56493"/>
                  <a:gd name="connsiteX3" fmla="*/ 0 w 8831"/>
                  <a:gd name="connsiteY3" fmla="*/ 8327 h 56493"/>
                  <a:gd name="connsiteX4" fmla="*/ 0 w 8831"/>
                  <a:gd name="connsiteY4" fmla="*/ 48353 h 56493"/>
                  <a:gd name="connsiteX5" fmla="*/ 2007 w 8831"/>
                  <a:gd name="connsiteY5" fmla="*/ 52053 h 56493"/>
                  <a:gd name="connsiteX6" fmla="*/ 8832 w 8831"/>
                  <a:gd name="connsiteY6" fmla="*/ 56494 h 56493"/>
                  <a:gd name="connsiteX7" fmla="*/ 8832 w 8831"/>
                  <a:gd name="connsiteY7" fmla="*/ 45959 h 56493"/>
                  <a:gd name="connsiteX8" fmla="*/ 8832 w 8831"/>
                  <a:gd name="connsiteY8" fmla="*/ 10668 h 5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31" h="56493">
                    <a:moveTo>
                      <a:pt x="8832" y="10668"/>
                    </a:moveTo>
                    <a:lnTo>
                      <a:pt x="8832" y="0"/>
                    </a:lnTo>
                    <a:lnTo>
                      <a:pt x="1938" y="4671"/>
                    </a:lnTo>
                    <a:cubicBezTo>
                      <a:pt x="726" y="5491"/>
                      <a:pt x="0" y="6865"/>
                      <a:pt x="0" y="8327"/>
                    </a:cubicBezTo>
                    <a:lnTo>
                      <a:pt x="0" y="48353"/>
                    </a:lnTo>
                    <a:cubicBezTo>
                      <a:pt x="0" y="49850"/>
                      <a:pt x="755" y="51238"/>
                      <a:pt x="2007" y="52053"/>
                    </a:cubicBezTo>
                    <a:lnTo>
                      <a:pt x="8832" y="56494"/>
                    </a:lnTo>
                    <a:lnTo>
                      <a:pt x="8832" y="45959"/>
                    </a:lnTo>
                    <a:lnTo>
                      <a:pt x="8832" y="10668"/>
                    </a:lnTo>
                    <a:close/>
                  </a:path>
                </a:pathLst>
              </a:custGeom>
              <a:solidFill>
                <a:srgbClr val="001638"/>
              </a:solidFill>
              <a:ln w="9525" cap="flat">
                <a:solidFill>
                  <a:srgbClr val="001638"/>
                </a:solidFill>
                <a:prstDash val="solid"/>
                <a:miter/>
              </a:ln>
            </p:spPr>
            <p:txBody>
              <a:bodyPr rtlCol="0" anchor="ctr"/>
              <a:lstStyle/>
              <a:p>
                <a:endParaRPr/>
              </a:p>
            </p:txBody>
          </p:sp>
          <p:sp>
            <p:nvSpPr>
              <p:cNvPr id="22" name="Forma Livre 45">
                <a:extLst>
                  <a:ext uri="{FF2B5EF4-FFF2-40B4-BE49-F238E27FC236}">
                    <a16:creationId xmlns:a16="http://schemas.microsoft.com/office/drawing/2014/main" id="{8393F25E-0A14-0606-0C97-CD2A35DF80AA}"/>
                  </a:ext>
                </a:extLst>
              </p:cNvPr>
              <p:cNvSpPr/>
              <p:nvPr/>
            </p:nvSpPr>
            <p:spPr>
              <a:xfrm>
                <a:off x="3895160" y="869696"/>
                <a:ext cx="32873" cy="8832"/>
              </a:xfrm>
              <a:custGeom>
                <a:avLst/>
                <a:gdLst>
                  <a:gd name="connsiteX0" fmla="*/ 28457 w 32873"/>
                  <a:gd name="connsiteY0" fmla="*/ 0 h 8832"/>
                  <a:gd name="connsiteX1" fmla="*/ 4416 w 32873"/>
                  <a:gd name="connsiteY1" fmla="*/ 0 h 8832"/>
                  <a:gd name="connsiteX2" fmla="*/ 0 w 32873"/>
                  <a:gd name="connsiteY2" fmla="*/ 4416 h 8832"/>
                  <a:gd name="connsiteX3" fmla="*/ 4416 w 32873"/>
                  <a:gd name="connsiteY3" fmla="*/ 8833 h 8832"/>
                  <a:gd name="connsiteX4" fmla="*/ 28457 w 32873"/>
                  <a:gd name="connsiteY4" fmla="*/ 8833 h 8832"/>
                  <a:gd name="connsiteX5" fmla="*/ 32873 w 32873"/>
                  <a:gd name="connsiteY5" fmla="*/ 4416 h 8832"/>
                  <a:gd name="connsiteX6" fmla="*/ 28457 w 32873"/>
                  <a:gd name="connsiteY6" fmla="*/ 0 h 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73" h="8832">
                    <a:moveTo>
                      <a:pt x="28457" y="0"/>
                    </a:moveTo>
                    <a:lnTo>
                      <a:pt x="4416" y="0"/>
                    </a:lnTo>
                    <a:cubicBezTo>
                      <a:pt x="1977" y="0"/>
                      <a:pt x="0" y="1978"/>
                      <a:pt x="0" y="4416"/>
                    </a:cubicBezTo>
                    <a:cubicBezTo>
                      <a:pt x="0" y="6855"/>
                      <a:pt x="1977" y="8833"/>
                      <a:pt x="4416" y="8833"/>
                    </a:cubicBezTo>
                    <a:lnTo>
                      <a:pt x="28457" y="8833"/>
                    </a:lnTo>
                    <a:cubicBezTo>
                      <a:pt x="30896" y="8833"/>
                      <a:pt x="32873" y="6855"/>
                      <a:pt x="32873" y="4416"/>
                    </a:cubicBezTo>
                    <a:cubicBezTo>
                      <a:pt x="32873" y="1978"/>
                      <a:pt x="30896" y="0"/>
                      <a:pt x="28457" y="0"/>
                    </a:cubicBezTo>
                    <a:close/>
                  </a:path>
                </a:pathLst>
              </a:custGeom>
              <a:solidFill>
                <a:srgbClr val="001638"/>
              </a:solidFill>
              <a:ln w="9525" cap="flat">
                <a:noFill/>
                <a:prstDash val="solid"/>
                <a:miter/>
              </a:ln>
            </p:spPr>
            <p:txBody>
              <a:bodyPr rtlCol="0" anchor="ctr"/>
              <a:lstStyle/>
              <a:p>
                <a:endParaRPr/>
              </a:p>
            </p:txBody>
          </p:sp>
        </p:grpSp>
        <p:grpSp>
          <p:nvGrpSpPr>
            <p:cNvPr id="12" name="Gráfico 2">
              <a:extLst>
                <a:ext uri="{FF2B5EF4-FFF2-40B4-BE49-F238E27FC236}">
                  <a16:creationId xmlns:a16="http://schemas.microsoft.com/office/drawing/2014/main" id="{A42B682E-D3DD-8E97-2A73-897ECBC8D947}"/>
                </a:ext>
              </a:extLst>
            </p:cNvPr>
            <p:cNvGrpSpPr/>
            <p:nvPr/>
          </p:nvGrpSpPr>
          <p:grpSpPr>
            <a:xfrm>
              <a:off x="4393660" y="1919432"/>
              <a:ext cx="774846" cy="279617"/>
              <a:chOff x="3145970" y="763990"/>
              <a:chExt cx="774846" cy="279617"/>
            </a:xfrm>
          </p:grpSpPr>
          <p:sp>
            <p:nvSpPr>
              <p:cNvPr id="13" name="Forma Livre 47">
                <a:extLst>
                  <a:ext uri="{FF2B5EF4-FFF2-40B4-BE49-F238E27FC236}">
                    <a16:creationId xmlns:a16="http://schemas.microsoft.com/office/drawing/2014/main" id="{2071E6BD-15EF-410B-73E3-4188074ADCC0}"/>
                  </a:ext>
                </a:extLst>
              </p:cNvPr>
              <p:cNvSpPr/>
              <p:nvPr/>
            </p:nvSpPr>
            <p:spPr>
              <a:xfrm>
                <a:off x="3481166"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14" name="Forma Livre 48">
                <a:extLst>
                  <a:ext uri="{FF2B5EF4-FFF2-40B4-BE49-F238E27FC236}">
                    <a16:creationId xmlns:a16="http://schemas.microsoft.com/office/drawing/2014/main" id="{CA5C1470-FAD4-58B5-271E-1D1D2A9AC4B4}"/>
                  </a:ext>
                </a:extLst>
              </p:cNvPr>
              <p:cNvSpPr/>
              <p:nvPr/>
            </p:nvSpPr>
            <p:spPr>
              <a:xfrm>
                <a:off x="3814018" y="771753"/>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sp>
            <p:nvSpPr>
              <p:cNvPr id="15" name="Forma Livre 49">
                <a:extLst>
                  <a:ext uri="{FF2B5EF4-FFF2-40B4-BE49-F238E27FC236}">
                    <a16:creationId xmlns:a16="http://schemas.microsoft.com/office/drawing/2014/main" id="{A820567D-47CA-AA03-BC05-D04D4A770AEC}"/>
                  </a:ext>
                </a:extLst>
              </p:cNvPr>
              <p:cNvSpPr/>
              <p:nvPr/>
            </p:nvSpPr>
            <p:spPr>
              <a:xfrm>
                <a:off x="3145970" y="763990"/>
                <a:ext cx="106798" cy="271854"/>
              </a:xfrm>
              <a:custGeom>
                <a:avLst/>
                <a:gdLst>
                  <a:gd name="connsiteX0" fmla="*/ 0 w 106798"/>
                  <a:gd name="connsiteY0" fmla="*/ 271855 h 271854"/>
                  <a:gd name="connsiteX1" fmla="*/ 106798 w 106798"/>
                  <a:gd name="connsiteY1" fmla="*/ 0 h 271854"/>
                </a:gdLst>
                <a:ahLst/>
                <a:cxnLst>
                  <a:cxn ang="0">
                    <a:pos x="connsiteX0" y="connsiteY0"/>
                  </a:cxn>
                  <a:cxn ang="0">
                    <a:pos x="connsiteX1" y="connsiteY1"/>
                  </a:cxn>
                </a:cxnLst>
                <a:rect l="l" t="t" r="r" b="b"/>
                <a:pathLst>
                  <a:path w="106798" h="271854">
                    <a:moveTo>
                      <a:pt x="0" y="271855"/>
                    </a:moveTo>
                    <a:lnTo>
                      <a:pt x="106798" y="0"/>
                    </a:lnTo>
                  </a:path>
                </a:pathLst>
              </a:custGeom>
              <a:ln w="7349" cap="rnd">
                <a:solidFill>
                  <a:srgbClr val="FC0606"/>
                </a:solidFill>
                <a:prstDash val="solid"/>
                <a:miter/>
              </a:ln>
            </p:spPr>
            <p:txBody>
              <a:bodyPr rtlCol="0" anchor="ctr"/>
              <a:lstStyle/>
              <a:p>
                <a:endParaRPr/>
              </a:p>
            </p:txBody>
          </p:sp>
        </p:grpSp>
      </p:grpSp>
      <p:sp>
        <p:nvSpPr>
          <p:cNvPr id="42" name="Rectangle 41" hidden="1">
            <a:extLst>
              <a:ext uri="{FF2B5EF4-FFF2-40B4-BE49-F238E27FC236}">
                <a16:creationId xmlns:a16="http://schemas.microsoft.com/office/drawing/2014/main" id="{75752E5E-9BFC-5F3A-19E8-D841405FAAE0}"/>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3" name="Date Placeholder 42">
            <a:extLst>
              <a:ext uri="{FF2B5EF4-FFF2-40B4-BE49-F238E27FC236}">
                <a16:creationId xmlns:a16="http://schemas.microsoft.com/office/drawing/2014/main" id="{79F229AD-CC23-8C72-F543-D5116C4480F9}"/>
              </a:ext>
            </a:extLst>
          </p:cNvPr>
          <p:cNvSpPr>
            <a:spLocks noGrp="1"/>
          </p:cNvSpPr>
          <p:nvPr>
            <p:ph type="dt" sz="half" idx="10"/>
          </p:nvPr>
        </p:nvSpPr>
        <p:spPr/>
        <p:txBody>
          <a:bodyPr/>
          <a:lstStyle/>
          <a:p>
            <a:fld id="{5F22A00B-0889-4C5B-B698-0C190A195E7E}" type="datetime1">
              <a:rPr lang="en-US"/>
              <a:t>11/16/2024</a:t>
            </a:fld>
            <a:endParaRPr lang="en-US" dirty="0"/>
          </a:p>
        </p:txBody>
      </p:sp>
      <p:sp>
        <p:nvSpPr>
          <p:cNvPr id="44" name="Footer Placeholder 43">
            <a:extLst>
              <a:ext uri="{FF2B5EF4-FFF2-40B4-BE49-F238E27FC236}">
                <a16:creationId xmlns:a16="http://schemas.microsoft.com/office/drawing/2014/main" id="{4658810C-294F-4463-E1E3-9ED3DC03BED5}"/>
              </a:ext>
            </a:extLst>
          </p:cNvPr>
          <p:cNvSpPr>
            <a:spLocks noGrp="1"/>
          </p:cNvSpPr>
          <p:nvPr>
            <p:ph type="ftr" sz="quarter" idx="11"/>
          </p:nvPr>
        </p:nvSpPr>
        <p:spPr/>
        <p:txBody>
          <a:bodyPr/>
          <a:lstStyle/>
          <a:p>
            <a:endParaRPr lang="en-US" dirty="0"/>
          </a:p>
        </p:txBody>
      </p:sp>
      <p:sp>
        <p:nvSpPr>
          <p:cNvPr id="45" name="Slide Number Placeholder 44">
            <a:extLst>
              <a:ext uri="{FF2B5EF4-FFF2-40B4-BE49-F238E27FC236}">
                <a16:creationId xmlns:a16="http://schemas.microsoft.com/office/drawing/2014/main" id="{FEBB1B4D-61D0-EB67-7E27-4A5D869A3EB0}"/>
              </a:ext>
            </a:extLst>
          </p:cNvPr>
          <p:cNvSpPr>
            <a:spLocks noGrp="1"/>
          </p:cNvSpPr>
          <p:nvPr>
            <p:ph type="sldNum" sz="quarter" idx="12"/>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74137379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 Compact">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29A947D1-2F98-44C6-DD63-C010C3AB167E}"/>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MIO_AGENDA_IGNORE_NAVIGATION" hidden="1">
            <a:extLst>
              <a:ext uri="{FF2B5EF4-FFF2-40B4-BE49-F238E27FC236}">
                <a16:creationId xmlns:a16="http://schemas.microsoft.com/office/drawing/2014/main" id="{39319241-D7A6-1904-3E2D-5ECD8270DBDF}"/>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8" name="MIO_AGENDA_IGNORE_CHAPTER_REFERENCE" hidden="1">
            <a:extLst>
              <a:ext uri="{FF2B5EF4-FFF2-40B4-BE49-F238E27FC236}">
                <a16:creationId xmlns:a16="http://schemas.microsoft.com/office/drawing/2014/main" id="{43ECA303-ED75-DCBF-15E3-0E4202359310}"/>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Linha">
            <a:extLst>
              <a:ext uri="{FF2B5EF4-FFF2-40B4-BE49-F238E27FC236}">
                <a16:creationId xmlns:a16="http://schemas.microsoft.com/office/drawing/2014/main" id="{D3EBF112-FA9A-0C19-AC21-1038654E716D}"/>
              </a:ext>
            </a:extLst>
          </p:cNvPr>
          <p:cNvSpPr/>
          <p:nvPr userDrawn="1">
            <p:custDataLst>
              <p:tags r:id="rId2"/>
            </p:custDataLst>
          </p:nvPr>
        </p:nvSpPr>
        <p:spPr>
          <a:xfrm flipV="1">
            <a:off x="2500165" y="2871259"/>
            <a:ext cx="332912" cy="956735"/>
          </a:xfrm>
          <a:prstGeom prst="line">
            <a:avLst/>
          </a:prstGeom>
          <a:ln w="12700" cap="flat" cmpd="sng" algn="ctr">
            <a:solidFill>
              <a:schemeClr val="accent2"/>
            </a:solidFill>
            <a:prstDash val="solid"/>
            <a:miter lim="400000"/>
            <a:headEnd type="none" w="med" len="med"/>
            <a:tailEnd type="none" w="med" len="med"/>
          </a:ln>
        </p:spPr>
        <p:txBody>
          <a:bodyPr lIns="25400" tIns="25400" rIns="25400" bIns="25400" anchor="ctr"/>
          <a:lstStyle/>
          <a:p>
            <a:endParaRPr lang="en-US" sz="900" dirty="0"/>
          </a:p>
        </p:txBody>
      </p:sp>
      <p:sp>
        <p:nvSpPr>
          <p:cNvPr id="4" name="Text Placeholder 2">
            <a:extLst>
              <a:ext uri="{FF2B5EF4-FFF2-40B4-BE49-F238E27FC236}">
                <a16:creationId xmlns:a16="http://schemas.microsoft.com/office/drawing/2014/main" id="{AA8F696D-5F4E-8BDA-239E-CD281397AA3C}"/>
              </a:ext>
            </a:extLst>
          </p:cNvPr>
          <p:cNvSpPr>
            <a:spLocks noGrp="1"/>
          </p:cNvSpPr>
          <p:nvPr>
            <p:ph type="body" sz="quarter" idx="11" hasCustomPrompt="1"/>
          </p:nvPr>
        </p:nvSpPr>
        <p:spPr>
          <a:xfrm>
            <a:off x="3662690" y="2871259"/>
            <a:ext cx="7567286" cy="1104393"/>
          </a:xfrm>
          <a:prstGeom prst="rect">
            <a:avLst/>
          </a:prstGeom>
          <a:ln w="12700">
            <a:miter lim="400000"/>
          </a:ln>
        </p:spPr>
        <p:txBody>
          <a:bodyPr wrap="square" lIns="0" tIns="0" rIns="0" bIns="0" numCol="3" anchor="ctr">
            <a:noAutofit/>
          </a:bodyPr>
          <a:lstStyle>
            <a:lvl1pPr marL="342900" indent="-216000" algn="l">
              <a:lnSpc>
                <a:spcPct val="120000"/>
              </a:lnSpc>
              <a:spcBef>
                <a:spcPts val="600"/>
              </a:spcBef>
              <a:buFont typeface="+mj-lt"/>
              <a:buAutoNum type="arabicPeriod"/>
              <a:defRPr lang="en-US" sz="1400" dirty="0">
                <a:solidFill>
                  <a:srgbClr val="7E90AB"/>
                </a:solidFill>
                <a:latin typeface="Arial"/>
                <a:ea typeface="Arial"/>
                <a:cs typeface="Arial"/>
              </a:defRPr>
            </a:lvl1pPr>
            <a:lvl2pPr>
              <a:defRPr lang="en-US" sz="1800" dirty="0">
                <a:solidFill>
                  <a:schemeClr val="tx1"/>
                </a:solidFill>
              </a:defRPr>
            </a:lvl2pPr>
            <a:lvl3pPr>
              <a:defRPr lang="en-US" sz="1800" dirty="0">
                <a:solidFill>
                  <a:schemeClr val="tx1"/>
                </a:solidFill>
              </a:defRPr>
            </a:lvl3pPr>
            <a:lvl4pPr>
              <a:defRPr lang="en-US" sz="1800" dirty="0">
                <a:solidFill>
                  <a:schemeClr val="tx1"/>
                </a:solidFill>
              </a:defRPr>
            </a:lvl4pPr>
            <a:lvl5pPr>
              <a:defRPr lang="en-US" sz="1800" dirty="0">
                <a:solidFill>
                  <a:schemeClr val="tx1"/>
                </a:solidFill>
              </a:defRPr>
            </a:lvl5pPr>
          </a:lstStyle>
          <a:p>
            <a:pPr marL="0" lvl="0">
              <a:spcBef>
                <a:spcPts val="1200"/>
              </a:spcBef>
            </a:pPr>
            <a:r>
              <a:rPr lang="en-US" dirty="0"/>
              <a:t>Click to edit text</a:t>
            </a:r>
          </a:p>
        </p:txBody>
      </p:sp>
      <p:sp>
        <p:nvSpPr>
          <p:cNvPr id="5" name="Rectangle 4">
            <a:extLst>
              <a:ext uri="{FF2B5EF4-FFF2-40B4-BE49-F238E27FC236}">
                <a16:creationId xmlns:a16="http://schemas.microsoft.com/office/drawing/2014/main" id="{3FFA26C2-DA0C-17CB-8C36-547D32369C5A}"/>
              </a:ext>
            </a:extLst>
          </p:cNvPr>
          <p:cNvSpPr/>
          <p:nvPr userDrawn="1">
            <p:custDataLst>
              <p:tags r:id="rId3"/>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6" name="Date Placeholder 3">
            <a:extLst>
              <a:ext uri="{FF2B5EF4-FFF2-40B4-BE49-F238E27FC236}">
                <a16:creationId xmlns:a16="http://schemas.microsoft.com/office/drawing/2014/main" id="{ADB610A9-4B88-5405-C6CE-871A011DCBDE}"/>
              </a:ext>
            </a:extLst>
          </p:cNvPr>
          <p:cNvSpPr>
            <a:spLocks noGrp="1"/>
          </p:cNvSpPr>
          <p:nvPr>
            <p:ph type="dt" sz="half" idx="12"/>
          </p:nvPr>
        </p:nvSpPr>
        <p:spPr>
          <a:xfrm>
            <a:off x="0" y="6861317"/>
            <a:ext cx="952500" cy="92217"/>
          </a:xfrm>
        </p:spPr>
        <p:txBody>
          <a:bodyPr/>
          <a:lstStyle/>
          <a:p>
            <a:fld id="{83DBFD78-76BB-4301-92A8-C391AD6E8378}" type="datetime1">
              <a:rPr lang="en-US"/>
              <a:t>11/16/2024</a:t>
            </a:fld>
            <a:endParaRPr lang="en-US" dirty="0"/>
          </a:p>
        </p:txBody>
      </p:sp>
      <p:sp>
        <p:nvSpPr>
          <p:cNvPr id="17" name="Footer Placeholder 4">
            <a:extLst>
              <a:ext uri="{FF2B5EF4-FFF2-40B4-BE49-F238E27FC236}">
                <a16:creationId xmlns:a16="http://schemas.microsoft.com/office/drawing/2014/main" id="{F3B832CE-0770-E779-948A-4C7FFE648C8C}"/>
              </a:ext>
            </a:extLst>
          </p:cNvPr>
          <p:cNvSpPr>
            <a:spLocks noGrp="1"/>
          </p:cNvSpPr>
          <p:nvPr>
            <p:ph type="ftr" sz="quarter" idx="13"/>
          </p:nvPr>
        </p:nvSpPr>
        <p:spPr>
          <a:xfrm>
            <a:off x="968989" y="6861317"/>
            <a:ext cx="6858000" cy="92217"/>
          </a:xfrm>
        </p:spPr>
        <p:txBody>
          <a:bodyPr/>
          <a:lstStyle/>
          <a:p>
            <a:endParaRPr lang="en-US" dirty="0"/>
          </a:p>
        </p:txBody>
      </p:sp>
      <p:sp>
        <p:nvSpPr>
          <p:cNvPr id="18" name="Slide Number Placeholder 5">
            <a:extLst>
              <a:ext uri="{FF2B5EF4-FFF2-40B4-BE49-F238E27FC236}">
                <a16:creationId xmlns:a16="http://schemas.microsoft.com/office/drawing/2014/main" id="{4E208418-44A3-4A79-B0AB-DA969D3158E7}"/>
              </a:ext>
            </a:extLst>
          </p:cNvPr>
          <p:cNvSpPr>
            <a:spLocks noGrp="1"/>
          </p:cNvSpPr>
          <p:nvPr>
            <p:ph type="sldNum" sz="quarter" idx="14"/>
          </p:nvPr>
        </p:nvSpPr>
        <p:spPr>
          <a:xfrm>
            <a:off x="11883812" y="6861317"/>
            <a:ext cx="308187" cy="92217"/>
          </a:xfrm>
        </p:spPr>
        <p:txBody>
          <a:bodyPr/>
          <a:lstStyle/>
          <a:p>
            <a:fld id="{BC856695-CDCE-4C54-BCD0-9C2D042065C7}" type="slidenum">
              <a:rPr lang="en-US"/>
              <a:pPr/>
              <a:t>‹#›</a:t>
            </a:fld>
            <a:endParaRPr lang="en-US" dirty="0"/>
          </a:p>
        </p:txBody>
      </p:sp>
      <p:sp>
        <p:nvSpPr>
          <p:cNvPr id="10" name="Title 9">
            <a:extLst>
              <a:ext uri="{FF2B5EF4-FFF2-40B4-BE49-F238E27FC236}">
                <a16:creationId xmlns:a16="http://schemas.microsoft.com/office/drawing/2014/main" id="{80213A43-F96C-8DD2-3C47-938AB6389A96}"/>
              </a:ext>
            </a:extLst>
          </p:cNvPr>
          <p:cNvSpPr>
            <a:spLocks noGrp="1"/>
          </p:cNvSpPr>
          <p:nvPr>
            <p:ph type="title" hasCustomPrompt="1"/>
          </p:nvPr>
        </p:nvSpPr>
        <p:spPr>
          <a:xfrm>
            <a:off x="968988" y="3091668"/>
            <a:ext cx="1672131" cy="484188"/>
          </a:xfrm>
        </p:spPr>
        <p:txBody>
          <a:bodyPr/>
          <a:lstStyle>
            <a:lvl1pPr algn="r">
              <a:defRPr sz="2400">
                <a:latin typeface="+mj-lt"/>
              </a:defRPr>
            </a:lvl1pPr>
          </a:lstStyle>
          <a:p>
            <a:r>
              <a:rPr lang="en-US" dirty="0"/>
              <a:t>agenda</a:t>
            </a:r>
          </a:p>
        </p:txBody>
      </p:sp>
      <p:sp>
        <p:nvSpPr>
          <p:cNvPr id="9" name="Logo Placeholder 30">
            <a:extLst>
              <a:ext uri="{FF2B5EF4-FFF2-40B4-BE49-F238E27FC236}">
                <a16:creationId xmlns:a16="http://schemas.microsoft.com/office/drawing/2014/main" id="{6B35D659-4721-4532-40CC-9A0EA3FDCF27}"/>
              </a:ext>
            </a:extLst>
          </p:cNvPr>
          <p:cNvSpPr txBox="1">
            <a:spLocks/>
          </p:cNvSpPr>
          <p:nvPr userDrawn="1">
            <p:custDataLst>
              <p:tags r:id="rId4"/>
            </p:custDataLst>
          </p:nvPr>
        </p:nvSpPr>
        <p:spPr>
          <a:xfrm>
            <a:off x="11827011" y="223406"/>
            <a:ext cx="179699" cy="179673"/>
          </a:xfrm>
          <a:prstGeom prst="rect">
            <a:avLst/>
          </a:prstGeom>
          <a:blipFill>
            <a:blip r:embed="rId7">
              <a:extLst>
                <a:ext uri="{96DAC541-7B7A-43D3-8B79-37D633B846F1}">
                  <asvg:svgBlip xmlns:asvg="http://schemas.microsoft.com/office/drawing/2016/SVG/main" r:embed="rId8"/>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1" name="Business Unit Placeholder 28">
            <a:extLst>
              <a:ext uri="{FF2B5EF4-FFF2-40B4-BE49-F238E27FC236}">
                <a16:creationId xmlns:a16="http://schemas.microsoft.com/office/drawing/2014/main" id="{F4CA3311-8E90-5A25-FC4F-ABA9CD869893}"/>
              </a:ext>
            </a:extLst>
          </p:cNvPr>
          <p:cNvSpPr txBox="1">
            <a:spLocks/>
          </p:cNvSpPr>
          <p:nvPr userDrawn="1">
            <p:custDataLst>
              <p:tags r:id="rId5"/>
            </p:custDataLst>
          </p:nvPr>
        </p:nvSpPr>
        <p:spPr>
          <a:xfrm>
            <a:off x="196779" y="200856"/>
            <a:ext cx="714096" cy="283877"/>
          </a:xfrm>
          <a:prstGeom prst="rect">
            <a:avLst/>
          </a:prstGeom>
          <a:blipFill>
            <a:blip r:embed="rId9">
              <a:extLst>
                <a:ext uri="{96DAC541-7B7A-43D3-8B79-37D633B846F1}">
                  <asvg:svgBlip xmlns:asvg="http://schemas.microsoft.com/office/drawing/2016/SVG/main" r:embed="rId10"/>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2327518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 Two Colum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9CBAD05B-73CB-0BFA-A9C6-53F1F26F781F}"/>
              </a:ext>
            </a:extLst>
          </p:cNvPr>
          <p:cNvSpPr>
            <a:spLocks noGrp="1"/>
          </p:cNvSpPr>
          <p:nvPr>
            <p:ph type="body" sz="quarter" idx="19" hasCustomPrompt="1"/>
          </p:nvPr>
        </p:nvSpPr>
        <p:spPr>
          <a:xfrm>
            <a:off x="3662690" y="2067340"/>
            <a:ext cx="7567286" cy="2598437"/>
          </a:xfrm>
          <a:prstGeom prst="rect">
            <a:avLst/>
          </a:prstGeom>
          <a:ln w="12700">
            <a:miter lim="400000"/>
          </a:ln>
        </p:spPr>
        <p:txBody>
          <a:bodyPr wrap="square" lIns="0" tIns="0" rIns="0" bIns="0" numCol="2" anchor="ctr">
            <a:noAutofit/>
          </a:bodyPr>
          <a:lstStyle>
            <a:lvl1pPr marL="342900" indent="-216000">
              <a:lnSpc>
                <a:spcPct val="120000"/>
              </a:lnSpc>
              <a:spcBef>
                <a:spcPts val="600"/>
              </a:spcBef>
              <a:buFont typeface="+mj-lt"/>
              <a:buAutoNum type="arabicPeriod"/>
              <a:defRPr lang="en-US" sz="1400" dirty="0">
                <a:solidFill>
                  <a:srgbClr val="7E90AB"/>
                </a:solidFill>
                <a:latin typeface="+mn-lt"/>
                <a:ea typeface="Arial"/>
                <a:cs typeface="Arial"/>
              </a:defRPr>
            </a:lvl1pPr>
            <a:lvl2pPr>
              <a:defRPr lang="en-US" sz="1800" dirty="0">
                <a:solidFill>
                  <a:schemeClr val="tx1"/>
                </a:solidFill>
              </a:defRPr>
            </a:lvl2pPr>
            <a:lvl3pPr>
              <a:defRPr lang="en-US" sz="1800" dirty="0">
                <a:solidFill>
                  <a:schemeClr val="tx1"/>
                </a:solidFill>
              </a:defRPr>
            </a:lvl3pPr>
            <a:lvl4pPr>
              <a:defRPr lang="en-US" sz="1800" dirty="0">
                <a:solidFill>
                  <a:schemeClr val="tx1"/>
                </a:solidFill>
              </a:defRPr>
            </a:lvl4pPr>
            <a:lvl5pPr>
              <a:defRPr lang="en-US" sz="1800" dirty="0">
                <a:solidFill>
                  <a:schemeClr val="tx1"/>
                </a:solidFill>
              </a:defRPr>
            </a:lvl5pPr>
          </a:lstStyle>
          <a:p>
            <a:pPr marL="0" lvl="0">
              <a:spcBef>
                <a:spcPts val="1200"/>
              </a:spcBef>
            </a:pPr>
            <a:r>
              <a:rPr lang="en-US" dirty="0"/>
              <a:t>Click to edit text</a:t>
            </a:r>
          </a:p>
        </p:txBody>
      </p:sp>
      <p:sp>
        <p:nvSpPr>
          <p:cNvPr id="2" name="Rectangle 1" hidden="1">
            <a:extLst>
              <a:ext uri="{FF2B5EF4-FFF2-40B4-BE49-F238E27FC236}">
                <a16:creationId xmlns:a16="http://schemas.microsoft.com/office/drawing/2014/main" id="{9DBC3236-16B3-5D5F-09D0-C415CADB953E}"/>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MIO_AGENDA_IGNORE_NAVIGATION" hidden="1">
            <a:extLst>
              <a:ext uri="{FF2B5EF4-FFF2-40B4-BE49-F238E27FC236}">
                <a16:creationId xmlns:a16="http://schemas.microsoft.com/office/drawing/2014/main" id="{5B75EF80-C655-65CB-D398-307BBD2E9A18}"/>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8" name="MIO_AGENDA_IGNORE_CHAPTER_REFERENCE" hidden="1">
            <a:extLst>
              <a:ext uri="{FF2B5EF4-FFF2-40B4-BE49-F238E27FC236}">
                <a16:creationId xmlns:a16="http://schemas.microsoft.com/office/drawing/2014/main" id="{42CA6AC6-934E-DC70-A26E-43DCADBE7F76}"/>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Rectangle 2">
            <a:extLst>
              <a:ext uri="{FF2B5EF4-FFF2-40B4-BE49-F238E27FC236}">
                <a16:creationId xmlns:a16="http://schemas.microsoft.com/office/drawing/2014/main" id="{4F52C275-90AA-F855-19A5-8475A5C2DB44}"/>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 name="Date Placeholder 2">
            <a:extLst>
              <a:ext uri="{FF2B5EF4-FFF2-40B4-BE49-F238E27FC236}">
                <a16:creationId xmlns:a16="http://schemas.microsoft.com/office/drawing/2014/main" id="{D0F81320-F638-8AC2-1060-D4C5CFCF0398}"/>
              </a:ext>
            </a:extLst>
          </p:cNvPr>
          <p:cNvSpPr>
            <a:spLocks noGrp="1"/>
          </p:cNvSpPr>
          <p:nvPr>
            <p:ph type="dt" sz="half" idx="16"/>
          </p:nvPr>
        </p:nvSpPr>
        <p:spPr>
          <a:xfrm>
            <a:off x="0" y="6861317"/>
            <a:ext cx="952500" cy="92217"/>
          </a:xfrm>
        </p:spPr>
        <p:txBody>
          <a:bodyPr/>
          <a:lstStyle/>
          <a:p>
            <a:fld id="{29AB1700-F587-4BE1-876F-F8640461D1E5}" type="datetime1">
              <a:rPr lang="en-US"/>
              <a:t>11/16/2024</a:t>
            </a:fld>
            <a:endParaRPr lang="en-US" dirty="0"/>
          </a:p>
        </p:txBody>
      </p:sp>
      <p:sp>
        <p:nvSpPr>
          <p:cNvPr id="5" name="Footer Placeholder 4">
            <a:extLst>
              <a:ext uri="{FF2B5EF4-FFF2-40B4-BE49-F238E27FC236}">
                <a16:creationId xmlns:a16="http://schemas.microsoft.com/office/drawing/2014/main" id="{BD0D8826-603E-FCCD-6937-F4EF2FDE1EC4}"/>
              </a:ext>
            </a:extLst>
          </p:cNvPr>
          <p:cNvSpPr>
            <a:spLocks noGrp="1"/>
          </p:cNvSpPr>
          <p:nvPr>
            <p:ph type="ftr" sz="quarter" idx="17"/>
          </p:nvPr>
        </p:nvSpPr>
        <p:spPr>
          <a:xfrm>
            <a:off x="968989" y="6861317"/>
            <a:ext cx="6858000" cy="92217"/>
          </a:xfrm>
        </p:spPr>
        <p:txBody>
          <a:bodyPr/>
          <a:lstStyle/>
          <a:p>
            <a:endParaRPr lang="en-US" dirty="0"/>
          </a:p>
        </p:txBody>
      </p:sp>
      <p:sp>
        <p:nvSpPr>
          <p:cNvPr id="6" name="Slide Number Placeholder 5">
            <a:extLst>
              <a:ext uri="{FF2B5EF4-FFF2-40B4-BE49-F238E27FC236}">
                <a16:creationId xmlns:a16="http://schemas.microsoft.com/office/drawing/2014/main" id="{10F4669C-CCF5-F8D1-CD7F-1111CA018A08}"/>
              </a:ext>
            </a:extLst>
          </p:cNvPr>
          <p:cNvSpPr>
            <a:spLocks noGrp="1"/>
          </p:cNvSpPr>
          <p:nvPr>
            <p:ph type="sldNum" sz="quarter" idx="18"/>
          </p:nvPr>
        </p:nvSpPr>
        <p:spPr>
          <a:xfrm>
            <a:off x="11883812" y="6861317"/>
            <a:ext cx="308187" cy="92217"/>
          </a:xfrm>
        </p:spPr>
        <p:txBody>
          <a:bodyPr/>
          <a:lstStyle/>
          <a:p>
            <a:fld id="{BC856695-CDCE-4C54-BCD0-9C2D042065C7}" type="slidenum">
              <a:rPr lang="en-US"/>
              <a:pPr/>
              <a:t>‹#›</a:t>
            </a:fld>
            <a:endParaRPr lang="en-US" dirty="0"/>
          </a:p>
        </p:txBody>
      </p:sp>
      <p:sp>
        <p:nvSpPr>
          <p:cNvPr id="13" name="Linha">
            <a:extLst>
              <a:ext uri="{FF2B5EF4-FFF2-40B4-BE49-F238E27FC236}">
                <a16:creationId xmlns:a16="http://schemas.microsoft.com/office/drawing/2014/main" id="{CC437F66-55D0-B09C-A0F8-67472CB87A91}"/>
              </a:ext>
            </a:extLst>
          </p:cNvPr>
          <p:cNvSpPr/>
          <p:nvPr userDrawn="1">
            <p:custDataLst>
              <p:tags r:id="rId3"/>
            </p:custDataLst>
          </p:nvPr>
        </p:nvSpPr>
        <p:spPr>
          <a:xfrm flipV="1">
            <a:off x="2500165" y="2871259"/>
            <a:ext cx="332912" cy="956735"/>
          </a:xfrm>
          <a:prstGeom prst="line">
            <a:avLst/>
          </a:prstGeom>
          <a:ln w="12700" cap="flat" cmpd="sng" algn="ctr">
            <a:solidFill>
              <a:schemeClr val="accent2"/>
            </a:solidFill>
            <a:prstDash val="solid"/>
            <a:miter lim="400000"/>
            <a:headEnd type="none" w="med" len="med"/>
            <a:tailEnd type="none" w="med" len="med"/>
          </a:ln>
        </p:spPr>
        <p:txBody>
          <a:bodyPr lIns="25400" tIns="25400" rIns="25400" bIns="25400" anchor="ctr"/>
          <a:lstStyle/>
          <a:p>
            <a:endParaRPr lang="en-US" sz="900" dirty="0"/>
          </a:p>
        </p:txBody>
      </p:sp>
      <p:sp>
        <p:nvSpPr>
          <p:cNvPr id="11" name="Title 9">
            <a:extLst>
              <a:ext uri="{FF2B5EF4-FFF2-40B4-BE49-F238E27FC236}">
                <a16:creationId xmlns:a16="http://schemas.microsoft.com/office/drawing/2014/main" id="{1A47E37D-D348-1B58-265C-AB0F546CE6EE}"/>
              </a:ext>
            </a:extLst>
          </p:cNvPr>
          <p:cNvSpPr>
            <a:spLocks noGrp="1"/>
          </p:cNvSpPr>
          <p:nvPr>
            <p:ph type="title" hasCustomPrompt="1"/>
          </p:nvPr>
        </p:nvSpPr>
        <p:spPr>
          <a:xfrm>
            <a:off x="968988" y="3091668"/>
            <a:ext cx="1672131" cy="484188"/>
          </a:xfrm>
        </p:spPr>
        <p:txBody>
          <a:bodyPr/>
          <a:lstStyle>
            <a:lvl1pPr algn="r">
              <a:defRPr sz="2400">
                <a:latin typeface="+mj-lt"/>
              </a:defRPr>
            </a:lvl1pPr>
          </a:lstStyle>
          <a:p>
            <a:r>
              <a:rPr lang="en-US" dirty="0"/>
              <a:t>agenda</a:t>
            </a:r>
          </a:p>
        </p:txBody>
      </p:sp>
      <p:sp>
        <p:nvSpPr>
          <p:cNvPr id="10" name="Logo Placeholder 30">
            <a:extLst>
              <a:ext uri="{FF2B5EF4-FFF2-40B4-BE49-F238E27FC236}">
                <a16:creationId xmlns:a16="http://schemas.microsoft.com/office/drawing/2014/main" id="{01669745-D896-F56E-2FF8-55658960E607}"/>
              </a:ext>
            </a:extLst>
          </p:cNvPr>
          <p:cNvSpPr txBox="1">
            <a:spLocks/>
          </p:cNvSpPr>
          <p:nvPr userDrawn="1">
            <p:custDataLst>
              <p:tags r:id="rId4"/>
            </p:custDataLst>
          </p:nvPr>
        </p:nvSpPr>
        <p:spPr>
          <a:xfrm>
            <a:off x="11827011" y="223406"/>
            <a:ext cx="179699" cy="179673"/>
          </a:xfrm>
          <a:prstGeom prst="rect">
            <a:avLst/>
          </a:prstGeom>
          <a:blipFill>
            <a:blip r:embed="rId7">
              <a:extLst>
                <a:ext uri="{96DAC541-7B7A-43D3-8B79-37D633B846F1}">
                  <asvg:svgBlip xmlns:asvg="http://schemas.microsoft.com/office/drawing/2016/SVG/main" r:embed="rId8"/>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5" name="Business Unit Placeholder 28">
            <a:extLst>
              <a:ext uri="{FF2B5EF4-FFF2-40B4-BE49-F238E27FC236}">
                <a16:creationId xmlns:a16="http://schemas.microsoft.com/office/drawing/2014/main" id="{2DC92F9A-2757-DC9B-A7A4-0A668020D396}"/>
              </a:ext>
            </a:extLst>
          </p:cNvPr>
          <p:cNvSpPr txBox="1">
            <a:spLocks/>
          </p:cNvSpPr>
          <p:nvPr userDrawn="1">
            <p:custDataLst>
              <p:tags r:id="rId5"/>
            </p:custDataLst>
          </p:nvPr>
        </p:nvSpPr>
        <p:spPr>
          <a:xfrm>
            <a:off x="196779" y="200856"/>
            <a:ext cx="714096" cy="283877"/>
          </a:xfrm>
          <a:prstGeom prst="rect">
            <a:avLst/>
          </a:prstGeom>
          <a:blipFill>
            <a:blip r:embed="rId9">
              <a:extLst>
                <a:ext uri="{96DAC541-7B7A-43D3-8B79-37D633B846F1}">
                  <asvg:svgBlip xmlns:asvg="http://schemas.microsoft.com/office/drawing/2016/SVG/main" r:embed="rId10"/>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40100191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 Three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D0D87445-D896-2C12-DFB3-D0F828DB5FC7}"/>
              </a:ext>
            </a:extLst>
          </p:cNvPr>
          <p:cNvSpPr>
            <a:spLocks noGrp="1"/>
          </p:cNvSpPr>
          <p:nvPr>
            <p:ph type="body" sz="quarter" idx="15" hasCustomPrompt="1"/>
          </p:nvPr>
        </p:nvSpPr>
        <p:spPr>
          <a:xfrm>
            <a:off x="3662690" y="2067340"/>
            <a:ext cx="7567286" cy="2598437"/>
          </a:xfrm>
          <a:prstGeom prst="rect">
            <a:avLst/>
          </a:prstGeom>
          <a:ln w="12700">
            <a:miter lim="400000"/>
          </a:ln>
        </p:spPr>
        <p:txBody>
          <a:bodyPr wrap="square" lIns="0" tIns="0" rIns="0" bIns="0" numCol="3" anchor="ctr">
            <a:noAutofit/>
          </a:bodyPr>
          <a:lstStyle>
            <a:lvl1pPr marL="342900" indent="-216000">
              <a:lnSpc>
                <a:spcPct val="120000"/>
              </a:lnSpc>
              <a:spcBef>
                <a:spcPts val="600"/>
              </a:spcBef>
              <a:buFont typeface="+mj-lt"/>
              <a:buAutoNum type="arabicPeriod"/>
              <a:defRPr lang="en-US" sz="1400" dirty="0">
                <a:solidFill>
                  <a:srgbClr val="7E90AB"/>
                </a:solidFill>
                <a:latin typeface="+mn-lt"/>
                <a:ea typeface="Arial"/>
                <a:cs typeface="Arial"/>
              </a:defRPr>
            </a:lvl1pPr>
            <a:lvl2pPr>
              <a:defRPr lang="en-US" sz="1800" dirty="0">
                <a:solidFill>
                  <a:schemeClr val="tx1"/>
                </a:solidFill>
              </a:defRPr>
            </a:lvl2pPr>
            <a:lvl3pPr>
              <a:defRPr lang="en-US" sz="1800" dirty="0">
                <a:solidFill>
                  <a:schemeClr val="tx1"/>
                </a:solidFill>
              </a:defRPr>
            </a:lvl3pPr>
            <a:lvl4pPr>
              <a:defRPr lang="en-US" sz="1800" dirty="0">
                <a:solidFill>
                  <a:schemeClr val="tx1"/>
                </a:solidFill>
              </a:defRPr>
            </a:lvl4pPr>
            <a:lvl5pPr>
              <a:defRPr lang="en-US" sz="1800" dirty="0">
                <a:solidFill>
                  <a:schemeClr val="tx1"/>
                </a:solidFill>
              </a:defRPr>
            </a:lvl5pPr>
          </a:lstStyle>
          <a:p>
            <a:pPr marL="0" lvl="0">
              <a:spcBef>
                <a:spcPts val="1200"/>
              </a:spcBef>
            </a:pPr>
            <a:r>
              <a:rPr lang="en-US" dirty="0"/>
              <a:t>Click to edit text</a:t>
            </a:r>
          </a:p>
        </p:txBody>
      </p:sp>
      <p:sp>
        <p:nvSpPr>
          <p:cNvPr id="3" name="Rectangle 2" hidden="1">
            <a:extLst>
              <a:ext uri="{FF2B5EF4-FFF2-40B4-BE49-F238E27FC236}">
                <a16:creationId xmlns:a16="http://schemas.microsoft.com/office/drawing/2014/main" id="{243F5EA2-D5A2-7268-1550-8BB09EF907CC}"/>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 name="MIO_AGENDA_IGNORE_NAVIGATION" hidden="1">
            <a:extLst>
              <a:ext uri="{FF2B5EF4-FFF2-40B4-BE49-F238E27FC236}">
                <a16:creationId xmlns:a16="http://schemas.microsoft.com/office/drawing/2014/main" id="{1D36418D-3701-132B-1214-79A7BCB479FC}"/>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9" name="MIO_AGENDA_IGNORE_CHAPTER_REFERENCE" hidden="1">
            <a:extLst>
              <a:ext uri="{FF2B5EF4-FFF2-40B4-BE49-F238E27FC236}">
                <a16:creationId xmlns:a16="http://schemas.microsoft.com/office/drawing/2014/main" id="{F93C1DCC-F622-2C8A-A6FA-74C10845FF3C}"/>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Linha">
            <a:extLst>
              <a:ext uri="{FF2B5EF4-FFF2-40B4-BE49-F238E27FC236}">
                <a16:creationId xmlns:a16="http://schemas.microsoft.com/office/drawing/2014/main" id="{35D4DDA7-CDFB-E550-B78F-1E6D6BDDC056}"/>
              </a:ext>
            </a:extLst>
          </p:cNvPr>
          <p:cNvSpPr/>
          <p:nvPr userDrawn="1">
            <p:custDataLst>
              <p:tags r:id="rId2"/>
            </p:custDataLst>
          </p:nvPr>
        </p:nvSpPr>
        <p:spPr>
          <a:xfrm flipV="1">
            <a:off x="2500165" y="2871259"/>
            <a:ext cx="332912" cy="956735"/>
          </a:xfrm>
          <a:prstGeom prst="line">
            <a:avLst/>
          </a:prstGeom>
          <a:ln w="12700" cap="flat" cmpd="sng" algn="ctr">
            <a:solidFill>
              <a:schemeClr val="accent2"/>
            </a:solidFill>
            <a:prstDash val="solid"/>
            <a:miter lim="400000"/>
            <a:headEnd type="none" w="med" len="med"/>
            <a:tailEnd type="none" w="med" len="med"/>
          </a:ln>
        </p:spPr>
        <p:txBody>
          <a:bodyPr lIns="25400" tIns="25400" rIns="25400" bIns="25400" anchor="ctr"/>
          <a:lstStyle/>
          <a:p>
            <a:endParaRPr lang="en-US" sz="900" dirty="0"/>
          </a:p>
        </p:txBody>
      </p:sp>
      <p:sp>
        <p:nvSpPr>
          <p:cNvPr id="6" name="Rectangle 5">
            <a:extLst>
              <a:ext uri="{FF2B5EF4-FFF2-40B4-BE49-F238E27FC236}">
                <a16:creationId xmlns:a16="http://schemas.microsoft.com/office/drawing/2014/main" id="{6CF8883F-64AD-CC17-58AD-3E44C9056BE0}"/>
              </a:ext>
            </a:extLst>
          </p:cNvPr>
          <p:cNvSpPr/>
          <p:nvPr userDrawn="1">
            <p:custDataLst>
              <p:tags r:id="rId3"/>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7" name="Date Placeholder 5">
            <a:extLst>
              <a:ext uri="{FF2B5EF4-FFF2-40B4-BE49-F238E27FC236}">
                <a16:creationId xmlns:a16="http://schemas.microsoft.com/office/drawing/2014/main" id="{BA573961-D43C-0A62-D248-C873AFC6B00F}"/>
              </a:ext>
            </a:extLst>
          </p:cNvPr>
          <p:cNvSpPr>
            <a:spLocks noGrp="1"/>
          </p:cNvSpPr>
          <p:nvPr>
            <p:ph type="dt" sz="half" idx="12"/>
          </p:nvPr>
        </p:nvSpPr>
        <p:spPr>
          <a:xfrm>
            <a:off x="0" y="6861317"/>
            <a:ext cx="952500" cy="92217"/>
          </a:xfrm>
        </p:spPr>
        <p:txBody>
          <a:bodyPr/>
          <a:lstStyle/>
          <a:p>
            <a:fld id="{DB25934D-8E27-4DBE-8081-61C8137341FA}" type="datetime1">
              <a:rPr lang="en-US"/>
              <a:t>11/16/2024</a:t>
            </a:fld>
            <a:endParaRPr lang="en-US" dirty="0"/>
          </a:p>
        </p:txBody>
      </p:sp>
      <p:sp>
        <p:nvSpPr>
          <p:cNvPr id="8" name="Footer Placeholder 6">
            <a:extLst>
              <a:ext uri="{FF2B5EF4-FFF2-40B4-BE49-F238E27FC236}">
                <a16:creationId xmlns:a16="http://schemas.microsoft.com/office/drawing/2014/main" id="{31169363-89AF-6575-01A3-AD2FBB0FD061}"/>
              </a:ext>
            </a:extLst>
          </p:cNvPr>
          <p:cNvSpPr>
            <a:spLocks noGrp="1"/>
          </p:cNvSpPr>
          <p:nvPr>
            <p:ph type="ftr" sz="quarter" idx="13"/>
          </p:nvPr>
        </p:nvSpPr>
        <p:spPr>
          <a:xfrm>
            <a:off x="968989" y="6861317"/>
            <a:ext cx="6858000" cy="92217"/>
          </a:xfrm>
        </p:spPr>
        <p:txBody>
          <a:bodyPr/>
          <a:lstStyle/>
          <a:p>
            <a:endParaRPr lang="en-US" dirty="0"/>
          </a:p>
        </p:txBody>
      </p:sp>
      <p:sp>
        <p:nvSpPr>
          <p:cNvPr id="18" name="Slide Number Placeholder 7">
            <a:extLst>
              <a:ext uri="{FF2B5EF4-FFF2-40B4-BE49-F238E27FC236}">
                <a16:creationId xmlns:a16="http://schemas.microsoft.com/office/drawing/2014/main" id="{79B4A9B0-FAE8-4CBA-E27B-105D5F10B5D9}"/>
              </a:ext>
            </a:extLst>
          </p:cNvPr>
          <p:cNvSpPr>
            <a:spLocks noGrp="1"/>
          </p:cNvSpPr>
          <p:nvPr>
            <p:ph type="sldNum" sz="quarter" idx="14"/>
          </p:nvPr>
        </p:nvSpPr>
        <p:spPr>
          <a:xfrm>
            <a:off x="11883812" y="6861317"/>
            <a:ext cx="308187" cy="92217"/>
          </a:xfrm>
        </p:spPr>
        <p:txBody>
          <a:bodyPr/>
          <a:lstStyle/>
          <a:p>
            <a:fld id="{BC856695-CDCE-4C54-BCD0-9C2D042065C7}" type="slidenum">
              <a:rPr lang="en-US"/>
              <a:pPr/>
              <a:t>‹#›</a:t>
            </a:fld>
            <a:endParaRPr lang="en-US" dirty="0"/>
          </a:p>
        </p:txBody>
      </p:sp>
      <p:sp>
        <p:nvSpPr>
          <p:cNvPr id="11" name="Title 9">
            <a:extLst>
              <a:ext uri="{FF2B5EF4-FFF2-40B4-BE49-F238E27FC236}">
                <a16:creationId xmlns:a16="http://schemas.microsoft.com/office/drawing/2014/main" id="{D14683B4-F1F1-A44F-85BF-AFDDB2EE3EB2}"/>
              </a:ext>
            </a:extLst>
          </p:cNvPr>
          <p:cNvSpPr>
            <a:spLocks noGrp="1"/>
          </p:cNvSpPr>
          <p:nvPr>
            <p:ph type="title" hasCustomPrompt="1"/>
          </p:nvPr>
        </p:nvSpPr>
        <p:spPr>
          <a:xfrm>
            <a:off x="968988" y="3091668"/>
            <a:ext cx="1672131" cy="484188"/>
          </a:xfrm>
        </p:spPr>
        <p:txBody>
          <a:bodyPr/>
          <a:lstStyle>
            <a:lvl1pPr algn="r">
              <a:lnSpc>
                <a:spcPct val="120000"/>
              </a:lnSpc>
              <a:defRPr sz="2400">
                <a:latin typeface="+mj-lt"/>
              </a:defRPr>
            </a:lvl1pPr>
          </a:lstStyle>
          <a:p>
            <a:r>
              <a:rPr lang="en-US" dirty="0"/>
              <a:t>agenda</a:t>
            </a:r>
          </a:p>
        </p:txBody>
      </p:sp>
      <p:sp>
        <p:nvSpPr>
          <p:cNvPr id="5" name="Logo Placeholder 30">
            <a:extLst>
              <a:ext uri="{FF2B5EF4-FFF2-40B4-BE49-F238E27FC236}">
                <a16:creationId xmlns:a16="http://schemas.microsoft.com/office/drawing/2014/main" id="{0CBEC6D8-C98D-DF8B-FB8E-9CB671922A16}"/>
              </a:ext>
            </a:extLst>
          </p:cNvPr>
          <p:cNvSpPr txBox="1">
            <a:spLocks/>
          </p:cNvSpPr>
          <p:nvPr userDrawn="1">
            <p:custDataLst>
              <p:tags r:id="rId4"/>
            </p:custDataLst>
          </p:nvPr>
        </p:nvSpPr>
        <p:spPr>
          <a:xfrm>
            <a:off x="11827011" y="223406"/>
            <a:ext cx="179699" cy="179673"/>
          </a:xfrm>
          <a:prstGeom prst="rect">
            <a:avLst/>
          </a:prstGeom>
          <a:blipFill>
            <a:blip r:embed="rId7">
              <a:extLst>
                <a:ext uri="{96DAC541-7B7A-43D3-8B79-37D633B846F1}">
                  <asvg:svgBlip xmlns:asvg="http://schemas.microsoft.com/office/drawing/2016/SVG/main" r:embed="rId8"/>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14" name="Business Unit Placeholder 28">
            <a:extLst>
              <a:ext uri="{FF2B5EF4-FFF2-40B4-BE49-F238E27FC236}">
                <a16:creationId xmlns:a16="http://schemas.microsoft.com/office/drawing/2014/main" id="{9C8C6973-6DA9-1813-5E34-A6309EDECF85}"/>
              </a:ext>
            </a:extLst>
          </p:cNvPr>
          <p:cNvSpPr txBox="1">
            <a:spLocks/>
          </p:cNvSpPr>
          <p:nvPr userDrawn="1">
            <p:custDataLst>
              <p:tags r:id="rId5"/>
            </p:custDataLst>
          </p:nvPr>
        </p:nvSpPr>
        <p:spPr>
          <a:xfrm>
            <a:off x="196779" y="200856"/>
            <a:ext cx="714096" cy="283877"/>
          </a:xfrm>
          <a:prstGeom prst="rect">
            <a:avLst/>
          </a:prstGeom>
          <a:blipFill>
            <a:blip r:embed="rId9">
              <a:extLst>
                <a:ext uri="{96DAC541-7B7A-43D3-8B79-37D633B846F1}">
                  <asvg:svgBlip xmlns:asvg="http://schemas.microsoft.com/office/drawing/2016/SVG/main" r:embed="rId10"/>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124501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MERCIAL AVIATION | White">
    <p:spTree>
      <p:nvGrpSpPr>
        <p:cNvPr id="1" name=""/>
        <p:cNvGrpSpPr/>
        <p:nvPr/>
      </p:nvGrpSpPr>
      <p:grpSpPr>
        <a:xfrm>
          <a:off x="0" y="0"/>
          <a:ext cx="0" cy="0"/>
          <a:chOff x="0" y="0"/>
          <a:chExt cx="0" cy="0"/>
        </a:xfrm>
      </p:grpSpPr>
      <p:sp>
        <p:nvSpPr>
          <p:cNvPr id="31" name="Logo Placeholder 30">
            <a:extLst>
              <a:ext uri="{FF2B5EF4-FFF2-40B4-BE49-F238E27FC236}">
                <a16:creationId xmlns:a16="http://schemas.microsoft.com/office/drawing/2014/main" id="{01248760-0609-29D1-43E9-5A3B2D64F0D6}"/>
              </a:ext>
            </a:extLst>
          </p:cNvPr>
          <p:cNvSpPr>
            <a:spLocks noGrp="1"/>
          </p:cNvSpPr>
          <p:nvPr>
            <p:ph type="pic" sz="quarter" idx="18" hasCustomPrompt="1"/>
          </p:nvPr>
        </p:nvSpPr>
        <p:spPr>
          <a:xfrm>
            <a:off x="11827011" y="223406"/>
            <a:ext cx="179699" cy="179673"/>
          </a:xfrm>
          <a:blipFill>
            <a:blip r:embed="rId4">
              <a:extLst>
                <a:ext uri="{96DAC541-7B7A-43D3-8B79-37D633B846F1}">
                  <asvg:svgBlip xmlns:asvg="http://schemas.microsoft.com/office/drawing/2016/SVG/main" r:embed="rId5"/>
                </a:ext>
              </a:extLst>
            </a:blip>
            <a:stretch>
              <a:fillRect/>
            </a:stretch>
          </a:blipFill>
        </p:spPr>
        <p:txBody>
          <a:bodyPr/>
          <a:lstStyle>
            <a:lvl1pPr marL="0" indent="0">
              <a:buNone/>
              <a:defRPr>
                <a:solidFill>
                  <a:schemeClr val="bg1"/>
                </a:solidFill>
              </a:defRPr>
            </a:lvl1pPr>
          </a:lstStyle>
          <a:p>
            <a:r>
              <a:rPr lang="en-US" dirty="0"/>
              <a:t>  </a:t>
            </a:r>
          </a:p>
        </p:txBody>
      </p:sp>
      <p:sp>
        <p:nvSpPr>
          <p:cNvPr id="29" name="Business Unit Placeholder 28">
            <a:extLst>
              <a:ext uri="{FF2B5EF4-FFF2-40B4-BE49-F238E27FC236}">
                <a16:creationId xmlns:a16="http://schemas.microsoft.com/office/drawing/2014/main" id="{312312DB-AEC2-D73B-9A8F-044F65517B79}"/>
              </a:ext>
            </a:extLst>
          </p:cNvPr>
          <p:cNvSpPr>
            <a:spLocks noGrp="1"/>
          </p:cNvSpPr>
          <p:nvPr>
            <p:ph type="pic" sz="quarter" idx="17" hasCustomPrompt="1"/>
          </p:nvPr>
        </p:nvSpPr>
        <p:spPr>
          <a:xfrm>
            <a:off x="196779" y="200856"/>
            <a:ext cx="714095" cy="283877"/>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a:solidFill>
                  <a:schemeClr val="bg1"/>
                </a:solidFill>
              </a:defRPr>
            </a:lvl1pPr>
          </a:lstStyle>
          <a:p>
            <a:r>
              <a:rPr lang="en-US" dirty="0"/>
              <a:t>  </a:t>
            </a:r>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2D93C504-4439-405F-AF63-6F80BE4B7964}"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11" name="Picture Placeholder 10">
            <a:extLst>
              <a:ext uri="{FF2B5EF4-FFF2-40B4-BE49-F238E27FC236}">
                <a16:creationId xmlns:a16="http://schemas.microsoft.com/office/drawing/2014/main" id="{BCA6F795-3DBA-AF6A-193F-F2F61969D01C}"/>
              </a:ext>
            </a:extLst>
          </p:cNvPr>
          <p:cNvSpPr>
            <a:spLocks noGrp="1"/>
          </p:cNvSpPr>
          <p:nvPr>
            <p:ph type="pic" sz="quarter" idx="22" hasCustomPrompt="1"/>
          </p:nvPr>
        </p:nvSpPr>
        <p:spPr>
          <a:xfrm>
            <a:off x="4479855" y="2899155"/>
            <a:ext cx="3450636" cy="969348"/>
          </a:xfrm>
          <a:blipFill>
            <a:blip r:embed="rId8"/>
            <a:stretch>
              <a:fillRect/>
            </a:stretch>
          </a:blipFill>
        </p:spPr>
        <p:txBody>
          <a:bodyPr/>
          <a:lstStyle>
            <a:lvl1pPr marL="0" indent="0">
              <a:buNone/>
              <a:defRPr>
                <a:latin typeface="+mj-lt"/>
              </a:defRPr>
            </a:lvl1pPr>
          </a:lstStyle>
          <a:p>
            <a:r>
              <a:rPr lang="en-US" dirty="0"/>
              <a:t>   </a:t>
            </a:r>
          </a:p>
        </p:txBody>
      </p:sp>
    </p:spTree>
    <p:extLst>
      <p:ext uri="{BB962C8B-B14F-4D97-AF65-F5344CB8AC3E}">
        <p14:creationId xmlns:p14="http://schemas.microsoft.com/office/powerpoint/2010/main" val="6669140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MEDI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52F0EA-F159-6891-6DE9-A4D135060059}"/>
              </a:ext>
            </a:extLst>
          </p:cNvPr>
          <p:cNvSpPr>
            <a:spLocks noGrp="1"/>
          </p:cNvSpPr>
          <p:nvPr>
            <p:ph type="dt" sz="half" idx="10"/>
          </p:nvPr>
        </p:nvSpPr>
        <p:spPr/>
        <p:txBody>
          <a:bodyPr/>
          <a:lstStyle/>
          <a:p>
            <a:fld id="{1BAA83BC-161E-427B-ADD1-01737CB24A6B}" type="datetime1">
              <a:rPr lang="en-US"/>
              <a:t>11/16/2024</a:t>
            </a:fld>
            <a:endParaRPr lang="en-US" dirty="0"/>
          </a:p>
        </p:txBody>
      </p:sp>
      <p:sp>
        <p:nvSpPr>
          <p:cNvPr id="4" name="Footer Placeholder 3">
            <a:extLst>
              <a:ext uri="{FF2B5EF4-FFF2-40B4-BE49-F238E27FC236}">
                <a16:creationId xmlns:a16="http://schemas.microsoft.com/office/drawing/2014/main" id="{09AC84C0-B52A-C2A8-F2A9-B2F92DE0E47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4D04A9B-CE88-DB9E-86D9-D45DFB63A9CC}"/>
              </a:ext>
            </a:extLst>
          </p:cNvPr>
          <p:cNvSpPr>
            <a:spLocks noGrp="1"/>
          </p:cNvSpPr>
          <p:nvPr>
            <p:ph type="sldNum" sz="quarter" idx="12"/>
          </p:nvPr>
        </p:nvSpPr>
        <p:spPr/>
        <p:txBody>
          <a:bodyPr/>
          <a:lstStyle/>
          <a:p>
            <a:fld id="{BC856695-CDCE-4C54-BCD0-9C2D042065C7}" type="slidenum">
              <a:rPr lang="en-US"/>
              <a:pPr/>
              <a:t>‹#›</a:t>
            </a:fld>
            <a:endParaRPr lang="en-US" dirty="0"/>
          </a:p>
        </p:txBody>
      </p:sp>
      <p:sp>
        <p:nvSpPr>
          <p:cNvPr id="6" name="Media Placeholder 5">
            <a:extLst>
              <a:ext uri="{FF2B5EF4-FFF2-40B4-BE49-F238E27FC236}">
                <a16:creationId xmlns:a16="http://schemas.microsoft.com/office/drawing/2014/main" id="{1DF5E973-2F80-C4B4-4A7D-F260FAE0B69F}"/>
              </a:ext>
            </a:extLst>
          </p:cNvPr>
          <p:cNvSpPr>
            <a:spLocks noGrp="1"/>
          </p:cNvSpPr>
          <p:nvPr>
            <p:ph type="media" sz="quarter" idx="13" hasCustomPrompt="1"/>
          </p:nvPr>
        </p:nvSpPr>
        <p:spPr>
          <a:xfrm>
            <a:off x="0" y="-9525"/>
            <a:ext cx="12192000" cy="6869113"/>
          </a:xfrm>
          <a:solidFill>
            <a:schemeClr val="bg1">
              <a:lumMod val="85000"/>
            </a:schemeClr>
          </a:solidFill>
        </p:spPr>
        <p:txBody>
          <a:bodyPr anchor="ctr"/>
          <a:lstStyle>
            <a:lvl1pPr marL="0" indent="0" algn="ctr">
              <a:buNone/>
              <a:defRPr/>
            </a:lvl1pPr>
          </a:lstStyle>
          <a:p>
            <a:r>
              <a:rPr lang="en-US" dirty="0"/>
              <a:t>Drag a video or click the icon to import one</a:t>
            </a:r>
          </a:p>
          <a:p>
            <a:endParaRPr lang="en-US" dirty="0"/>
          </a:p>
          <a:p>
            <a:endParaRPr lang="en-US" dirty="0"/>
          </a:p>
        </p:txBody>
      </p:sp>
    </p:spTree>
    <p:extLst>
      <p:ext uri="{BB962C8B-B14F-4D97-AF65-F5344CB8AC3E}">
        <p14:creationId xmlns:p14="http://schemas.microsoft.com/office/powerpoint/2010/main" val="12366359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EMPTY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52F0EA-F159-6891-6DE9-A4D135060059}"/>
              </a:ext>
            </a:extLst>
          </p:cNvPr>
          <p:cNvSpPr>
            <a:spLocks noGrp="1"/>
          </p:cNvSpPr>
          <p:nvPr>
            <p:ph type="dt" sz="half" idx="10"/>
          </p:nvPr>
        </p:nvSpPr>
        <p:spPr/>
        <p:txBody>
          <a:bodyPr/>
          <a:lstStyle/>
          <a:p>
            <a:fld id="{1BAA83BC-161E-427B-ADD1-01737CB24A6B}" type="datetime1">
              <a:rPr lang="en-US"/>
              <a:t>11/16/2024</a:t>
            </a:fld>
            <a:endParaRPr lang="en-US" dirty="0"/>
          </a:p>
        </p:txBody>
      </p:sp>
      <p:sp>
        <p:nvSpPr>
          <p:cNvPr id="4" name="Footer Placeholder 3">
            <a:extLst>
              <a:ext uri="{FF2B5EF4-FFF2-40B4-BE49-F238E27FC236}">
                <a16:creationId xmlns:a16="http://schemas.microsoft.com/office/drawing/2014/main" id="{09AC84C0-B52A-C2A8-F2A9-B2F92DE0E47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4D04A9B-CE88-DB9E-86D9-D45DFB63A9CC}"/>
              </a:ext>
            </a:extLst>
          </p:cNvPr>
          <p:cNvSpPr>
            <a:spLocks noGrp="1"/>
          </p:cNvSpPr>
          <p:nvPr>
            <p:ph type="sldNum" sz="quarter" idx="12"/>
          </p:nvPr>
        </p:nvSpPr>
        <p:spPr/>
        <p:txBody>
          <a:bodyPr/>
          <a:lstStyle/>
          <a:p>
            <a:fld id="{BC856695-CDCE-4C54-BCD0-9C2D042065C7}" type="slidenum">
              <a:rPr lang="en-US"/>
              <a:pPr/>
              <a:t>‹#›</a:t>
            </a:fld>
            <a:endParaRPr lang="en-US" dirty="0"/>
          </a:p>
        </p:txBody>
      </p:sp>
    </p:spTree>
    <p:extLst>
      <p:ext uri="{BB962C8B-B14F-4D97-AF65-F5344CB8AC3E}">
        <p14:creationId xmlns:p14="http://schemas.microsoft.com/office/powerpoint/2010/main" val="132945854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49073E-283F-BDC5-B34D-6FD844D1F8A8}"/>
              </a:ext>
            </a:extLst>
          </p:cNvPr>
          <p:cNvSpPr>
            <a:spLocks noGrp="1"/>
          </p:cNvSpPr>
          <p:nvPr>
            <p:ph type="dt" sz="half" idx="10"/>
          </p:nvPr>
        </p:nvSpPr>
        <p:spPr/>
        <p:txBody>
          <a:bodyPr/>
          <a:lstStyle/>
          <a:p>
            <a:fld id="{8F835975-F59F-4B5D-8D2B-DEE73B908FE4}" type="datetime1">
              <a:rPr lang="en-US"/>
              <a:t>11/16/2024</a:t>
            </a:fld>
            <a:endParaRPr lang="en-US"/>
          </a:p>
        </p:txBody>
      </p:sp>
      <p:sp>
        <p:nvSpPr>
          <p:cNvPr id="4" name="Footer Placeholder 3">
            <a:extLst>
              <a:ext uri="{FF2B5EF4-FFF2-40B4-BE49-F238E27FC236}">
                <a16:creationId xmlns:a16="http://schemas.microsoft.com/office/drawing/2014/main" id="{BDEFAFDF-7668-93A2-8499-43835EF395D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61C1027-0ABF-8208-3E8C-AFF16E758137}"/>
              </a:ext>
            </a:extLst>
          </p:cNvPr>
          <p:cNvSpPr>
            <a:spLocks noGrp="1"/>
          </p:cNvSpPr>
          <p:nvPr>
            <p:ph type="sldNum" sz="quarter" idx="12"/>
          </p:nvPr>
        </p:nvSpPr>
        <p:spPr/>
        <p:txBody>
          <a:bodyPr/>
          <a:lstStyle/>
          <a:p>
            <a:fld id="{BC856695-CDCE-4C54-BCD0-9C2D042065C7}" type="slidenum">
              <a:rPr lang="en-US"/>
              <a:pPr/>
              <a:t>‹#›</a:t>
            </a:fld>
            <a:endParaRPr lang="en-US"/>
          </a:p>
        </p:txBody>
      </p:sp>
      <p:sp>
        <p:nvSpPr>
          <p:cNvPr id="6" name="Rectangle 5">
            <a:extLst>
              <a:ext uri="{FF2B5EF4-FFF2-40B4-BE49-F238E27FC236}">
                <a16:creationId xmlns:a16="http://schemas.microsoft.com/office/drawing/2014/main" id="{E72DB9B1-52DB-7D1E-8AF5-2C904B3F1C75}"/>
              </a:ext>
            </a:extLst>
          </p:cNvPr>
          <p:cNvSpPr/>
          <p:nvPr userDrawn="1"/>
        </p:nvSpPr>
        <p:spPr>
          <a:xfrm>
            <a:off x="0"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800" b="1" cap="all" baseline="0" dirty="0" err="1">
                <a:latin typeface="+mj-lt"/>
              </a:rPr>
              <a:t>Powerpoint</a:t>
            </a:r>
            <a:r>
              <a:rPr lang="en-US" sz="13800" b="1" cap="all" baseline="0" dirty="0">
                <a:latin typeface="+mj-lt"/>
              </a:rPr>
              <a:t> basic layouts</a:t>
            </a:r>
          </a:p>
        </p:txBody>
      </p:sp>
    </p:spTree>
    <p:extLst>
      <p:ext uri="{BB962C8B-B14F-4D97-AF65-F5344CB8AC3E}">
        <p14:creationId xmlns:p14="http://schemas.microsoft.com/office/powerpoint/2010/main" val="2001514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 With Content">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Rectangle 7">
            <a:extLst>
              <a:ext uri="{FF2B5EF4-FFF2-40B4-BE49-F238E27FC236}">
                <a16:creationId xmlns:a16="http://schemas.microsoft.com/office/drawing/2014/main" id="{A89AA776-2165-04FB-3B2C-66145463C9AA}"/>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
        <p:nvSpPr>
          <p:cNvPr id="12" name="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989138"/>
            <a:ext cx="10261600" cy="4260850"/>
          </a:xfrm>
        </p:spPr>
        <p:txBody>
          <a:bodyPr/>
          <a:lstStyle>
            <a:lvl1pPr marL="0" indent="0">
              <a:lnSpc>
                <a:spcPct val="120000"/>
              </a:lnSpc>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Logo Placeholder 30">
            <a:extLst>
              <a:ext uri="{FF2B5EF4-FFF2-40B4-BE49-F238E27FC236}">
                <a16:creationId xmlns:a16="http://schemas.microsoft.com/office/drawing/2014/main" id="{CF6C1A48-C70D-C5D0-4BFB-5A038AB5D213}"/>
              </a:ext>
            </a:extLst>
          </p:cNvPr>
          <p:cNvSpPr txBox="1">
            <a:spLocks/>
          </p:cNvSpPr>
          <p:nvPr userDrawn="1">
            <p:custDataLst>
              <p:tags r:id="rId3"/>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Business Unit Placeholder 28">
            <a:extLst>
              <a:ext uri="{FF2B5EF4-FFF2-40B4-BE49-F238E27FC236}">
                <a16:creationId xmlns:a16="http://schemas.microsoft.com/office/drawing/2014/main" id="{72D9B892-0E27-82CC-1D69-92C631F6C32E}"/>
              </a:ext>
            </a:extLst>
          </p:cNvPr>
          <p:cNvSpPr txBox="1">
            <a:spLocks/>
          </p:cNvSpPr>
          <p:nvPr userDrawn="1">
            <p:custDataLst>
              <p:tags r:id="rId4"/>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Tree>
    <p:extLst>
      <p:ext uri="{BB962C8B-B14F-4D97-AF65-F5344CB8AC3E}">
        <p14:creationId xmlns:p14="http://schemas.microsoft.com/office/powerpoint/2010/main" val="30045813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80AC4-5DBC-E81E-B2AB-EA20F0440274}"/>
              </a:ext>
            </a:extLst>
          </p:cNvPr>
          <p:cNvSpPr>
            <a:spLocks noGrp="1"/>
          </p:cNvSpPr>
          <p:nvPr>
            <p:ph type="ctrTitle"/>
          </p:nvPr>
        </p:nvSpPr>
        <p:spPr>
          <a:xfrm>
            <a:off x="1712794" y="2268538"/>
            <a:ext cx="9116706" cy="1477773"/>
          </a:xfrm>
        </p:spPr>
        <p:txBody>
          <a:bodyPr anchor="b"/>
          <a:lstStyle>
            <a:lvl1pPr algn="l">
              <a:defRPr sz="32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2BC6CD8-AA05-495A-850F-6BA2E34B9CEF}"/>
              </a:ext>
            </a:extLst>
          </p:cNvPr>
          <p:cNvSpPr>
            <a:spLocks noGrp="1"/>
          </p:cNvSpPr>
          <p:nvPr>
            <p:ph type="subTitle" idx="1"/>
          </p:nvPr>
        </p:nvSpPr>
        <p:spPr>
          <a:xfrm>
            <a:off x="1712794" y="3892279"/>
            <a:ext cx="7083188" cy="427239"/>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4569A68B-26DA-DFFA-F303-790FE202CD52}"/>
              </a:ext>
            </a:extLst>
          </p:cNvPr>
          <p:cNvSpPr>
            <a:spLocks noGrp="1"/>
          </p:cNvSpPr>
          <p:nvPr>
            <p:ph type="dt" sz="half" idx="10"/>
          </p:nvPr>
        </p:nvSpPr>
        <p:spPr/>
        <p:txBody>
          <a:bodyPr/>
          <a:lstStyle/>
          <a:p>
            <a:fld id="{87B89DF9-C374-4527-8328-59C9D50FCDB0}" type="datetime1">
              <a:rPr lang="en-US"/>
              <a:t>11/16/2024</a:t>
            </a:fld>
            <a:endParaRPr lang="en-US" dirty="0"/>
          </a:p>
        </p:txBody>
      </p:sp>
      <p:sp>
        <p:nvSpPr>
          <p:cNvPr id="5" name="Footer Placeholder 4">
            <a:extLst>
              <a:ext uri="{FF2B5EF4-FFF2-40B4-BE49-F238E27FC236}">
                <a16:creationId xmlns:a16="http://schemas.microsoft.com/office/drawing/2014/main" id="{04438E15-C776-C146-2452-EE5244D3B2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7FE0CA2-76E8-8EE9-9464-9B2078B45604}"/>
              </a:ext>
            </a:extLst>
          </p:cNvPr>
          <p:cNvSpPr>
            <a:spLocks noGrp="1"/>
          </p:cNvSpPr>
          <p:nvPr>
            <p:ph type="sldNum" sz="quarter" idx="12"/>
          </p:nvPr>
        </p:nvSpPr>
        <p:spPr/>
        <p:txBody>
          <a:bodyPr/>
          <a:lstStyle/>
          <a:p>
            <a:fld id="{BC856695-CDCE-4C54-BCD0-9C2D042065C7}" type="slidenum">
              <a:rPr lang="en-US"/>
              <a:t>‹#›</a:t>
            </a:fld>
            <a:endParaRPr lang="en-US" dirty="0"/>
          </a:p>
        </p:txBody>
      </p:sp>
      <p:sp>
        <p:nvSpPr>
          <p:cNvPr id="7" name="Forma Livre: Forma 61">
            <a:extLst>
              <a:ext uri="{FF2B5EF4-FFF2-40B4-BE49-F238E27FC236}">
                <a16:creationId xmlns:a16="http://schemas.microsoft.com/office/drawing/2014/main" id="{39B7494D-508C-D929-19CC-23FE6E3852D9}"/>
              </a:ext>
            </a:extLst>
          </p:cNvPr>
          <p:cNvSpPr/>
          <p:nvPr userDrawn="1"/>
        </p:nvSpPr>
        <p:spPr>
          <a:xfrm flipH="1">
            <a:off x="1151588" y="3358872"/>
            <a:ext cx="309592" cy="309549"/>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04AE8"/>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lang="en-US" sz="675" dirty="0">
              <a:solidFill>
                <a:srgbClr val="004AE8"/>
              </a:solidFill>
              <a:latin typeface="+mn-lt"/>
            </a:endParaRPr>
          </a:p>
        </p:txBody>
      </p:sp>
      <p:sp>
        <p:nvSpPr>
          <p:cNvPr id="8" name="Rectangle 7" hidden="1">
            <a:extLst>
              <a:ext uri="{FF2B5EF4-FFF2-40B4-BE49-F238E27FC236}">
                <a16:creationId xmlns:a16="http://schemas.microsoft.com/office/drawing/2014/main" id="{04DA32B9-FE37-A786-B958-6F8F9C68DB08}"/>
              </a:ext>
            </a:extLst>
          </p:cNvPr>
          <p:cNvSpPr/>
          <p:nvPr userDrawn="1">
            <p:custDataLst>
              <p:tags r:id="rId1"/>
            </p:custDataLst>
          </p:nvPr>
        </p:nvSpPr>
        <p:spPr>
          <a:xfrm>
            <a:off x="1072097" y="3233867"/>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MIO_AGENDA_IGNORE_NAVIGATION" hidden="1">
            <a:extLst>
              <a:ext uri="{FF2B5EF4-FFF2-40B4-BE49-F238E27FC236}">
                <a16:creationId xmlns:a16="http://schemas.microsoft.com/office/drawing/2014/main" id="{7FF69712-0E7C-BA48-4E01-A6796FF23BA2}"/>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MIO_AGENDA_IGNORE_CHAPTER_REFERENCE" hidden="1">
            <a:extLst>
              <a:ext uri="{FF2B5EF4-FFF2-40B4-BE49-F238E27FC236}">
                <a16:creationId xmlns:a16="http://schemas.microsoft.com/office/drawing/2014/main" id="{4EECBA11-2A14-E23D-AAB2-2E5F3D72A8C8}"/>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5498777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0F234-7D41-272F-1950-9BC46896A2F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B047D4F8-B65B-83A1-125E-C21ECCFF5E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B6AE47-CA32-2428-EE94-EAD06901E2A3}"/>
              </a:ext>
            </a:extLst>
          </p:cNvPr>
          <p:cNvSpPr>
            <a:spLocks noGrp="1"/>
          </p:cNvSpPr>
          <p:nvPr>
            <p:ph type="dt" sz="half" idx="10"/>
          </p:nvPr>
        </p:nvSpPr>
        <p:spPr/>
        <p:txBody>
          <a:bodyPr/>
          <a:lstStyle/>
          <a:p>
            <a:fld id="{C0C6872A-1DF6-4928-A4F0-B62ABC9649B9}" type="datetime1">
              <a:rPr lang="en-US"/>
              <a:t>11/16/2024</a:t>
            </a:fld>
            <a:endParaRPr lang="en-US"/>
          </a:p>
        </p:txBody>
      </p:sp>
      <p:sp>
        <p:nvSpPr>
          <p:cNvPr id="5" name="Footer Placeholder 4">
            <a:extLst>
              <a:ext uri="{FF2B5EF4-FFF2-40B4-BE49-F238E27FC236}">
                <a16:creationId xmlns:a16="http://schemas.microsoft.com/office/drawing/2014/main" id="{0C351340-EF98-AB59-D8F7-C2EE4102F2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EA84F-47FC-7B71-5C5D-97C5B1D6045B}"/>
              </a:ext>
            </a:extLst>
          </p:cNvPr>
          <p:cNvSpPr>
            <a:spLocks noGrp="1"/>
          </p:cNvSpPr>
          <p:nvPr>
            <p:ph type="sldNum" sz="quarter" idx="12"/>
          </p:nvPr>
        </p:nvSpPr>
        <p:spPr/>
        <p:txBody>
          <a:bodyPr/>
          <a:lstStyle/>
          <a:p>
            <a:fld id="{BC856695-CDCE-4C54-BCD0-9C2D042065C7}" type="slidenum">
              <a:rPr lang="en-US"/>
              <a:t>‹#›</a:t>
            </a:fld>
            <a:endParaRPr lang="en-US"/>
          </a:p>
        </p:txBody>
      </p:sp>
      <p:sp>
        <p:nvSpPr>
          <p:cNvPr id="7" name="Rectangle 6" hidden="1">
            <a:extLst>
              <a:ext uri="{FF2B5EF4-FFF2-40B4-BE49-F238E27FC236}">
                <a16:creationId xmlns:a16="http://schemas.microsoft.com/office/drawing/2014/main" id="{72E5FF49-0474-600D-480D-2E223C0DFBD2}"/>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Rectangle 10">
            <a:extLst>
              <a:ext uri="{FF2B5EF4-FFF2-40B4-BE49-F238E27FC236}">
                <a16:creationId xmlns:a16="http://schemas.microsoft.com/office/drawing/2014/main" id="{B4F66A51-BA77-9887-FFF4-906101165062}"/>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25130448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EF8DB-5637-E260-3228-726046FBD52F}"/>
              </a:ext>
            </a:extLst>
          </p:cNvPr>
          <p:cNvSpPr>
            <a:spLocks noGrp="1"/>
          </p:cNvSpPr>
          <p:nvPr>
            <p:ph type="title"/>
          </p:nvPr>
        </p:nvSpPr>
        <p:spPr>
          <a:xfrm>
            <a:off x="1587731" y="2239353"/>
            <a:ext cx="9457272" cy="1160463"/>
          </a:xfrm>
        </p:spPr>
        <p:txBody>
          <a:bodyPr anchor="b"/>
          <a:lstStyle>
            <a:lvl1pPr algn="r">
              <a:defRPr sz="3200"/>
            </a:lvl1pPr>
          </a:lstStyle>
          <a:p>
            <a:r>
              <a:rPr lang="en-US"/>
              <a:t>Click to edit Master title style</a:t>
            </a:r>
            <a:endParaRPr lang="en-US" dirty="0"/>
          </a:p>
        </p:txBody>
      </p:sp>
      <p:sp>
        <p:nvSpPr>
          <p:cNvPr id="3" name="Subtitle">
            <a:extLst>
              <a:ext uri="{FF2B5EF4-FFF2-40B4-BE49-F238E27FC236}">
                <a16:creationId xmlns:a16="http://schemas.microsoft.com/office/drawing/2014/main" id="{B9E882F0-B234-7DB7-95FB-93FE8A1826AE}"/>
              </a:ext>
            </a:extLst>
          </p:cNvPr>
          <p:cNvSpPr>
            <a:spLocks noGrp="1"/>
          </p:cNvSpPr>
          <p:nvPr>
            <p:ph type="body" idx="1"/>
          </p:nvPr>
        </p:nvSpPr>
        <p:spPr>
          <a:xfrm>
            <a:off x="3957224" y="3475996"/>
            <a:ext cx="7083188" cy="427239"/>
          </a:xfrm>
        </p:spPr>
        <p:txBody>
          <a:bodyPr>
            <a:normAutofit/>
          </a:bodyPr>
          <a:lstStyle>
            <a:lvl1pPr marL="0" indent="0" algn="r">
              <a:buNone/>
              <a:defRPr sz="2400" cap="all" baseline="0">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E9D2EA-58E3-7F11-E8C4-EABE028CF3A8}"/>
              </a:ext>
            </a:extLst>
          </p:cNvPr>
          <p:cNvSpPr>
            <a:spLocks noGrp="1"/>
          </p:cNvSpPr>
          <p:nvPr>
            <p:ph type="dt" sz="half" idx="10"/>
          </p:nvPr>
        </p:nvSpPr>
        <p:spPr/>
        <p:txBody>
          <a:bodyPr/>
          <a:lstStyle/>
          <a:p>
            <a:fld id="{27854F5A-B684-4D00-9FCD-F5D8AB7DC0E9}" type="datetime1">
              <a:rPr lang="en-US"/>
              <a:t>11/16/2024</a:t>
            </a:fld>
            <a:endParaRPr lang="en-US"/>
          </a:p>
        </p:txBody>
      </p:sp>
      <p:sp>
        <p:nvSpPr>
          <p:cNvPr id="5" name="Footer Placeholder 4">
            <a:extLst>
              <a:ext uri="{FF2B5EF4-FFF2-40B4-BE49-F238E27FC236}">
                <a16:creationId xmlns:a16="http://schemas.microsoft.com/office/drawing/2014/main" id="{05BBC558-7879-73F5-5065-4CC0CC4317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8DD0CE-C4E3-1B8B-DF13-25C1BBEECC2D}"/>
              </a:ext>
            </a:extLst>
          </p:cNvPr>
          <p:cNvSpPr>
            <a:spLocks noGrp="1"/>
          </p:cNvSpPr>
          <p:nvPr>
            <p:ph type="sldNum" sz="quarter" idx="12"/>
          </p:nvPr>
        </p:nvSpPr>
        <p:spPr/>
        <p:txBody>
          <a:bodyPr/>
          <a:lstStyle/>
          <a:p>
            <a:fld id="{BC856695-CDCE-4C54-BCD0-9C2D042065C7}" type="slidenum">
              <a:rPr lang="en-US"/>
              <a:t>‹#›</a:t>
            </a:fld>
            <a:endParaRPr lang="en-US"/>
          </a:p>
        </p:txBody>
      </p:sp>
      <p:sp>
        <p:nvSpPr>
          <p:cNvPr id="7" name="Forma Livre: Forma 61">
            <a:extLst>
              <a:ext uri="{FF2B5EF4-FFF2-40B4-BE49-F238E27FC236}">
                <a16:creationId xmlns:a16="http://schemas.microsoft.com/office/drawing/2014/main" id="{9105D587-FE60-0681-86AC-A6338A8D71F5}"/>
              </a:ext>
            </a:extLst>
          </p:cNvPr>
          <p:cNvSpPr/>
          <p:nvPr userDrawn="1"/>
        </p:nvSpPr>
        <p:spPr>
          <a:xfrm flipH="1">
            <a:off x="11823911" y="229039"/>
            <a:ext cx="173083" cy="173059"/>
          </a:xfrm>
          <a:custGeom>
            <a:avLst/>
            <a:gdLst/>
            <a:ahLst/>
            <a:cxnLst>
              <a:cxn ang="0">
                <a:pos x="wd2" y="hd2"/>
              </a:cxn>
              <a:cxn ang="5400000">
                <a:pos x="wd2" y="hd2"/>
              </a:cxn>
              <a:cxn ang="10800000">
                <a:pos x="wd2" y="hd2"/>
              </a:cxn>
              <a:cxn ang="16200000">
                <a:pos x="wd2" y="hd2"/>
              </a:cxn>
            </a:cxnLst>
            <a:rect l="0" t="0" r="r" b="b"/>
            <a:pathLst>
              <a:path w="21600" h="21600" extrusionOk="0">
                <a:moveTo>
                  <a:pt x="17278" y="0"/>
                </a:moveTo>
                <a:lnTo>
                  <a:pt x="4322" y="9935"/>
                </a:lnTo>
                <a:lnTo>
                  <a:pt x="1728" y="9935"/>
                </a:lnTo>
                <a:lnTo>
                  <a:pt x="0" y="11665"/>
                </a:lnTo>
                <a:lnTo>
                  <a:pt x="4322" y="11665"/>
                </a:lnTo>
                <a:lnTo>
                  <a:pt x="17278" y="21600"/>
                </a:lnTo>
                <a:lnTo>
                  <a:pt x="21600" y="21600"/>
                </a:lnTo>
                <a:lnTo>
                  <a:pt x="12961" y="11665"/>
                </a:lnTo>
                <a:lnTo>
                  <a:pt x="21559" y="11665"/>
                </a:lnTo>
                <a:lnTo>
                  <a:pt x="21559" y="9935"/>
                </a:lnTo>
                <a:lnTo>
                  <a:pt x="12961" y="9935"/>
                </a:lnTo>
                <a:lnTo>
                  <a:pt x="21600" y="0"/>
                </a:lnTo>
                <a:close/>
              </a:path>
            </a:pathLst>
          </a:custGeom>
          <a:solidFill>
            <a:srgbClr val="004AE8"/>
          </a:solidFill>
          <a:ln w="12700" cap="flat">
            <a:noFill/>
            <a:miter lim="400000"/>
          </a:ln>
          <a:effectLst/>
        </p:spPr>
        <p:txBody>
          <a:bodyPr wrap="square" lIns="17145" tIns="17145" rIns="17145" bIns="17145" numCol="1" anchor="ctr">
            <a:noAutofit/>
          </a:bodyPr>
          <a:lstStyle/>
          <a:p>
            <a:pPr>
              <a:defRPr>
                <a:solidFill>
                  <a:srgbClr val="10069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pPr>
            <a:endParaRPr sz="675" dirty="0">
              <a:solidFill>
                <a:srgbClr val="004AE8"/>
              </a:solidFill>
              <a:latin typeface="+mn-lt"/>
            </a:endParaRPr>
          </a:p>
        </p:txBody>
      </p:sp>
      <p:sp>
        <p:nvSpPr>
          <p:cNvPr id="10" name="Linha">
            <a:extLst>
              <a:ext uri="{FF2B5EF4-FFF2-40B4-BE49-F238E27FC236}">
                <a16:creationId xmlns:a16="http://schemas.microsoft.com/office/drawing/2014/main" id="{9B51F038-5C60-5D8A-CC2D-16A801AA04BB}"/>
              </a:ext>
            </a:extLst>
          </p:cNvPr>
          <p:cNvSpPr/>
          <p:nvPr userDrawn="1"/>
        </p:nvSpPr>
        <p:spPr>
          <a:xfrm flipV="1">
            <a:off x="11171554" y="2962943"/>
            <a:ext cx="329565" cy="947116"/>
          </a:xfrm>
          <a:prstGeom prst="line">
            <a:avLst/>
          </a:prstGeom>
          <a:ln w="19050">
            <a:solidFill>
              <a:srgbClr val="FFC000"/>
            </a:solidFill>
            <a:miter lim="400000"/>
          </a:ln>
        </p:spPr>
        <p:txBody>
          <a:bodyPr lIns="19050" tIns="19050" rIns="19050" bIns="19050" anchor="ctr"/>
          <a:lstStyle/>
          <a:p>
            <a:endParaRPr sz="675" dirty="0"/>
          </a:p>
        </p:txBody>
      </p:sp>
      <p:sp>
        <p:nvSpPr>
          <p:cNvPr id="8" name="Rectangle 7" hidden="1">
            <a:extLst>
              <a:ext uri="{FF2B5EF4-FFF2-40B4-BE49-F238E27FC236}">
                <a16:creationId xmlns:a16="http://schemas.microsoft.com/office/drawing/2014/main" id="{B98572F4-17C3-D303-C1C7-FC608949B84F}"/>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MIO_AGENDA_IGNORE_NAVIGATION" hidden="1">
            <a:extLst>
              <a:ext uri="{FF2B5EF4-FFF2-40B4-BE49-F238E27FC236}">
                <a16:creationId xmlns:a16="http://schemas.microsoft.com/office/drawing/2014/main" id="{A422C3C0-7A35-0F7E-42A7-AFAC232397CD}"/>
              </a:ext>
            </a:extLst>
          </p:cNvPr>
          <p:cNvSpPr/>
          <p:nvPr userDrawn="1"/>
        </p:nvSpPr>
        <p:spPr>
          <a:xfrm>
            <a:off x="11430182" y="207471"/>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1" name="MIO_AGENDA_IGNORE_CHAPTER_REFERENCE" hidden="1">
            <a:extLst>
              <a:ext uri="{FF2B5EF4-FFF2-40B4-BE49-F238E27FC236}">
                <a16:creationId xmlns:a16="http://schemas.microsoft.com/office/drawing/2014/main" id="{8BCD2F33-2B6A-750D-2DCF-17A5A1184EBA}"/>
              </a:ext>
            </a:extLst>
          </p:cNvPr>
          <p:cNvSpPr/>
          <p:nvPr userDrawn="1"/>
        </p:nvSpPr>
        <p:spPr>
          <a:xfrm>
            <a:off x="11139122" y="202264"/>
            <a:ext cx="211541" cy="211541"/>
          </a:xfrm>
          <a:prstGeom prst="noSmoking">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3527140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CF78C-C032-CCF2-3B32-BFBBB1FBE306}"/>
              </a:ext>
            </a:extLst>
          </p:cNvPr>
          <p:cNvSpPr>
            <a:spLocks noGrp="1"/>
          </p:cNvSpPr>
          <p:nvPr>
            <p:ph type="title"/>
          </p:nvPr>
        </p:nvSpPr>
        <p:spPr/>
        <p:txBody>
          <a:bodyPr/>
          <a:lstStyle/>
          <a:p>
            <a:r>
              <a:rPr lang="en-US"/>
              <a:t>Click to edit Master title style</a:t>
            </a:r>
          </a:p>
        </p:txBody>
      </p:sp>
      <p:sp>
        <p:nvSpPr>
          <p:cNvPr id="3" name="Content Placeholder Left">
            <a:extLst>
              <a:ext uri="{FF2B5EF4-FFF2-40B4-BE49-F238E27FC236}">
                <a16:creationId xmlns:a16="http://schemas.microsoft.com/office/drawing/2014/main" id="{329094CC-3418-C3D1-409B-C23D4FFF13E2}"/>
              </a:ext>
            </a:extLst>
          </p:cNvPr>
          <p:cNvSpPr>
            <a:spLocks noGrp="1"/>
          </p:cNvSpPr>
          <p:nvPr>
            <p:ph sz="half" idx="1"/>
          </p:nvPr>
        </p:nvSpPr>
        <p:spPr>
          <a:xfrm>
            <a:off x="968990" y="1385888"/>
            <a:ext cx="5050809" cy="486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Right">
            <a:extLst>
              <a:ext uri="{FF2B5EF4-FFF2-40B4-BE49-F238E27FC236}">
                <a16:creationId xmlns:a16="http://schemas.microsoft.com/office/drawing/2014/main" id="{2BAEDBBF-FF2C-6D7F-5325-6F2F253A4C1A}"/>
              </a:ext>
            </a:extLst>
          </p:cNvPr>
          <p:cNvSpPr>
            <a:spLocks noGrp="1"/>
          </p:cNvSpPr>
          <p:nvPr>
            <p:ph sz="half" idx="2"/>
          </p:nvPr>
        </p:nvSpPr>
        <p:spPr>
          <a:xfrm>
            <a:off x="6172200" y="1385888"/>
            <a:ext cx="5061372" cy="4862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F8A878-255A-C17C-7E2E-EB392B6188CF}"/>
              </a:ext>
            </a:extLst>
          </p:cNvPr>
          <p:cNvSpPr>
            <a:spLocks noGrp="1"/>
          </p:cNvSpPr>
          <p:nvPr>
            <p:ph type="dt" sz="half" idx="10"/>
          </p:nvPr>
        </p:nvSpPr>
        <p:spPr/>
        <p:txBody>
          <a:bodyPr/>
          <a:lstStyle/>
          <a:p>
            <a:fld id="{C123D3A8-77A2-4C46-AA42-2E18BFD45350}" type="datetime1">
              <a:rPr lang="en-US"/>
              <a:t>11/16/2024</a:t>
            </a:fld>
            <a:endParaRPr lang="en-US"/>
          </a:p>
        </p:txBody>
      </p:sp>
      <p:sp>
        <p:nvSpPr>
          <p:cNvPr id="6" name="Footer Placeholder 5">
            <a:extLst>
              <a:ext uri="{FF2B5EF4-FFF2-40B4-BE49-F238E27FC236}">
                <a16:creationId xmlns:a16="http://schemas.microsoft.com/office/drawing/2014/main" id="{FC898D21-9067-CCB1-99CA-1A4F90FB4B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596E14-6E9F-388B-8D7A-934AFF474691}"/>
              </a:ext>
            </a:extLst>
          </p:cNvPr>
          <p:cNvSpPr>
            <a:spLocks noGrp="1"/>
          </p:cNvSpPr>
          <p:nvPr>
            <p:ph type="sldNum" sz="quarter" idx="12"/>
          </p:nvPr>
        </p:nvSpPr>
        <p:spPr/>
        <p:txBody>
          <a:bodyPr/>
          <a:lstStyle/>
          <a:p>
            <a:fld id="{BC856695-CDCE-4C54-BCD0-9C2D042065C7}" type="slidenum">
              <a:rPr lang="en-US"/>
              <a:t>‹#›</a:t>
            </a:fld>
            <a:endParaRPr lang="en-US"/>
          </a:p>
        </p:txBody>
      </p:sp>
      <p:sp>
        <p:nvSpPr>
          <p:cNvPr id="8" name="Rectangle 7" hidden="1">
            <a:extLst>
              <a:ext uri="{FF2B5EF4-FFF2-40B4-BE49-F238E27FC236}">
                <a16:creationId xmlns:a16="http://schemas.microsoft.com/office/drawing/2014/main" id="{C4C2255A-3553-2BBB-7513-C26BCA000FC0}"/>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1A0F0D27-FDAE-2DF1-30F9-44CFE761FDAD}"/>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7215947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Subtitle Left">
            <a:extLst>
              <a:ext uri="{FF2B5EF4-FFF2-40B4-BE49-F238E27FC236}">
                <a16:creationId xmlns:a16="http://schemas.microsoft.com/office/drawing/2014/main" id="{ADA82C6E-4013-B530-363C-A7EC16444F0B}"/>
              </a:ext>
            </a:extLst>
          </p:cNvPr>
          <p:cNvSpPr>
            <a:spLocks noGrp="1"/>
          </p:cNvSpPr>
          <p:nvPr>
            <p:ph type="body" idx="1"/>
          </p:nvPr>
        </p:nvSpPr>
        <p:spPr>
          <a:xfrm>
            <a:off x="968991" y="1385888"/>
            <a:ext cx="5028584" cy="447533"/>
          </a:xfrm>
        </p:spPr>
        <p:txBody>
          <a:bodyPr anchor="b">
            <a:normAutofit/>
          </a:bodyPr>
          <a:lstStyle>
            <a:lvl1pPr marL="0" indent="0">
              <a:buNone/>
              <a:defRPr sz="2400" b="0" cap="all" baseline="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Left">
            <a:extLst>
              <a:ext uri="{FF2B5EF4-FFF2-40B4-BE49-F238E27FC236}">
                <a16:creationId xmlns:a16="http://schemas.microsoft.com/office/drawing/2014/main" id="{1EDB5F19-7FC3-491B-7E4E-6293C349D476}"/>
              </a:ext>
            </a:extLst>
          </p:cNvPr>
          <p:cNvSpPr>
            <a:spLocks noGrp="1"/>
          </p:cNvSpPr>
          <p:nvPr>
            <p:ph sz="half" idx="2"/>
          </p:nvPr>
        </p:nvSpPr>
        <p:spPr>
          <a:xfrm>
            <a:off x="968991" y="1979944"/>
            <a:ext cx="5028584" cy="4268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Right">
            <a:extLst>
              <a:ext uri="{FF2B5EF4-FFF2-40B4-BE49-F238E27FC236}">
                <a16:creationId xmlns:a16="http://schemas.microsoft.com/office/drawing/2014/main" id="{8228F7D5-2094-BD05-C7A6-953C1D573343}"/>
              </a:ext>
            </a:extLst>
          </p:cNvPr>
          <p:cNvSpPr>
            <a:spLocks noGrp="1"/>
          </p:cNvSpPr>
          <p:nvPr>
            <p:ph type="body" sz="quarter" idx="3"/>
          </p:nvPr>
        </p:nvSpPr>
        <p:spPr>
          <a:xfrm>
            <a:off x="6172200" y="1385888"/>
            <a:ext cx="5050809" cy="447533"/>
          </a:xfrm>
        </p:spPr>
        <p:txBody>
          <a:bodyPr anchor="b">
            <a:normAutofit/>
          </a:bodyPr>
          <a:lstStyle>
            <a:lvl1pPr marL="0" indent="0">
              <a:buNone/>
              <a:defRPr sz="2400" b="0" cap="all" baseline="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Subtitle Right">
            <a:extLst>
              <a:ext uri="{FF2B5EF4-FFF2-40B4-BE49-F238E27FC236}">
                <a16:creationId xmlns:a16="http://schemas.microsoft.com/office/drawing/2014/main" id="{FEB717C3-6FBC-BF15-E085-0189CE0494B5}"/>
              </a:ext>
            </a:extLst>
          </p:cNvPr>
          <p:cNvSpPr>
            <a:spLocks noGrp="1"/>
          </p:cNvSpPr>
          <p:nvPr>
            <p:ph sz="quarter" idx="4"/>
          </p:nvPr>
        </p:nvSpPr>
        <p:spPr>
          <a:xfrm>
            <a:off x="6172200" y="1979944"/>
            <a:ext cx="5061372" cy="4268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5B6289C6-117D-01F0-162B-2D78A034F421}"/>
              </a:ext>
            </a:extLst>
          </p:cNvPr>
          <p:cNvSpPr>
            <a:spLocks noGrp="1"/>
          </p:cNvSpPr>
          <p:nvPr>
            <p:ph type="dt" sz="half" idx="10"/>
          </p:nvPr>
        </p:nvSpPr>
        <p:spPr/>
        <p:txBody>
          <a:bodyPr/>
          <a:lstStyle/>
          <a:p>
            <a:fld id="{A60E29F7-6C06-4B5A-826F-D8B0D6EE4948}" type="datetime1">
              <a:rPr lang="en-US"/>
              <a:t>11/16/2024</a:t>
            </a:fld>
            <a:endParaRPr lang="en-US"/>
          </a:p>
        </p:txBody>
      </p:sp>
      <p:sp>
        <p:nvSpPr>
          <p:cNvPr id="8" name="Footer Placeholder 7">
            <a:extLst>
              <a:ext uri="{FF2B5EF4-FFF2-40B4-BE49-F238E27FC236}">
                <a16:creationId xmlns:a16="http://schemas.microsoft.com/office/drawing/2014/main" id="{0BACF3CD-D79D-D25E-F1BD-2B488F1A03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EB3384-795B-D85A-40F5-F74E8A7B2FFF}"/>
              </a:ext>
            </a:extLst>
          </p:cNvPr>
          <p:cNvSpPr>
            <a:spLocks noGrp="1"/>
          </p:cNvSpPr>
          <p:nvPr>
            <p:ph type="sldNum" sz="quarter" idx="12"/>
          </p:nvPr>
        </p:nvSpPr>
        <p:spPr/>
        <p:txBody>
          <a:bodyPr/>
          <a:lstStyle/>
          <a:p>
            <a:fld id="{BC856695-CDCE-4C54-BCD0-9C2D042065C7}" type="slidenum">
              <a:rPr lang="en-US"/>
              <a:t>‹#›</a:t>
            </a:fld>
            <a:endParaRPr lang="en-US"/>
          </a:p>
        </p:txBody>
      </p:sp>
      <p:sp>
        <p:nvSpPr>
          <p:cNvPr id="10" name="Title 9">
            <a:extLst>
              <a:ext uri="{FF2B5EF4-FFF2-40B4-BE49-F238E27FC236}">
                <a16:creationId xmlns:a16="http://schemas.microsoft.com/office/drawing/2014/main" id="{97AB962B-C5FD-E919-C47B-624F76FA562A}"/>
              </a:ext>
            </a:extLst>
          </p:cNvPr>
          <p:cNvSpPr>
            <a:spLocks noGrp="1"/>
          </p:cNvSpPr>
          <p:nvPr>
            <p:ph type="title"/>
          </p:nvPr>
        </p:nvSpPr>
        <p:spPr/>
        <p:txBody>
          <a:bodyPr/>
          <a:lstStyle/>
          <a:p>
            <a:r>
              <a:rPr lang="en-US"/>
              <a:t>Click to edit Master title style</a:t>
            </a:r>
          </a:p>
        </p:txBody>
      </p:sp>
      <p:sp>
        <p:nvSpPr>
          <p:cNvPr id="2" name="Rectangle 1" hidden="1">
            <a:extLst>
              <a:ext uri="{FF2B5EF4-FFF2-40B4-BE49-F238E27FC236}">
                <a16:creationId xmlns:a16="http://schemas.microsoft.com/office/drawing/2014/main" id="{A1811F39-D3B1-13ED-FDE6-896B245051DB}"/>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Rectangle 11">
            <a:extLst>
              <a:ext uri="{FF2B5EF4-FFF2-40B4-BE49-F238E27FC236}">
                <a16:creationId xmlns:a16="http://schemas.microsoft.com/office/drawing/2014/main" id="{E918A53F-8A9D-24F6-60FD-E686B84ACCB8}"/>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22552682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B1381-9B3F-1F7F-CA31-E4A00E1C69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D36BBA-ADE1-15D5-ABF6-9E71E7DC9A28}"/>
              </a:ext>
            </a:extLst>
          </p:cNvPr>
          <p:cNvSpPr>
            <a:spLocks noGrp="1"/>
          </p:cNvSpPr>
          <p:nvPr>
            <p:ph type="dt" sz="half" idx="10"/>
          </p:nvPr>
        </p:nvSpPr>
        <p:spPr/>
        <p:txBody>
          <a:bodyPr/>
          <a:lstStyle/>
          <a:p>
            <a:fld id="{ABC98861-6EB6-484A-A44D-F41B741B0AD0}" type="datetime1">
              <a:rPr lang="en-US"/>
              <a:t>11/16/2024</a:t>
            </a:fld>
            <a:endParaRPr lang="en-US"/>
          </a:p>
        </p:txBody>
      </p:sp>
      <p:sp>
        <p:nvSpPr>
          <p:cNvPr id="4" name="Footer Placeholder 3">
            <a:extLst>
              <a:ext uri="{FF2B5EF4-FFF2-40B4-BE49-F238E27FC236}">
                <a16:creationId xmlns:a16="http://schemas.microsoft.com/office/drawing/2014/main" id="{4C2ABD01-0986-E231-6F32-0EFF6359106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D47B3F0-C3ED-27DE-1B93-9D1A2D3F5398}"/>
              </a:ext>
            </a:extLst>
          </p:cNvPr>
          <p:cNvSpPr>
            <a:spLocks noGrp="1"/>
          </p:cNvSpPr>
          <p:nvPr>
            <p:ph type="sldNum" sz="quarter" idx="12"/>
          </p:nvPr>
        </p:nvSpPr>
        <p:spPr/>
        <p:txBody>
          <a:bodyPr/>
          <a:lstStyle/>
          <a:p>
            <a:fld id="{BC856695-CDCE-4C54-BCD0-9C2D042065C7}" type="slidenum">
              <a:rPr lang="en-US"/>
              <a:t>‹#›</a:t>
            </a:fld>
            <a:endParaRPr lang="en-US"/>
          </a:p>
        </p:txBody>
      </p:sp>
      <p:sp>
        <p:nvSpPr>
          <p:cNvPr id="6" name="Rectangle 5" hidden="1">
            <a:extLst>
              <a:ext uri="{FF2B5EF4-FFF2-40B4-BE49-F238E27FC236}">
                <a16:creationId xmlns:a16="http://schemas.microsoft.com/office/drawing/2014/main" id="{13BAA43C-E47E-3AE1-3B7D-1218E31C139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94FB3812-004C-467B-5FAB-31E40A08F421}"/>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36606852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D3E01-9433-D656-5309-3E039B75281B}"/>
              </a:ext>
            </a:extLst>
          </p:cNvPr>
          <p:cNvSpPr>
            <a:spLocks noGrp="1"/>
          </p:cNvSpPr>
          <p:nvPr>
            <p:ph type="dt" sz="half" idx="10"/>
          </p:nvPr>
        </p:nvSpPr>
        <p:spPr/>
        <p:txBody>
          <a:bodyPr/>
          <a:lstStyle/>
          <a:p>
            <a:fld id="{EC551BDD-1B50-4FA9-87E3-C6E5CE9BBCAA}" type="datetime1">
              <a:rPr lang="en-US"/>
              <a:t>11/16/2024</a:t>
            </a:fld>
            <a:endParaRPr lang="en-US"/>
          </a:p>
        </p:txBody>
      </p:sp>
      <p:sp>
        <p:nvSpPr>
          <p:cNvPr id="3" name="Footer Placeholder 2">
            <a:extLst>
              <a:ext uri="{FF2B5EF4-FFF2-40B4-BE49-F238E27FC236}">
                <a16:creationId xmlns:a16="http://schemas.microsoft.com/office/drawing/2014/main" id="{AFA25593-C49E-679A-4CF6-1B79DC93C7F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922E1D-185F-1083-C7F3-7523F4CAECAD}"/>
              </a:ext>
            </a:extLst>
          </p:cNvPr>
          <p:cNvSpPr>
            <a:spLocks noGrp="1"/>
          </p:cNvSpPr>
          <p:nvPr>
            <p:ph type="sldNum" sz="quarter" idx="12"/>
          </p:nvPr>
        </p:nvSpPr>
        <p:spPr/>
        <p:txBody>
          <a:bodyPr/>
          <a:lstStyle/>
          <a:p>
            <a:fld id="{BC856695-CDCE-4C54-BCD0-9C2D042065C7}" type="slidenum">
              <a:rPr lang="en-US"/>
              <a:t>‹#›</a:t>
            </a:fld>
            <a:endParaRPr lang="en-US"/>
          </a:p>
        </p:txBody>
      </p:sp>
      <p:sp>
        <p:nvSpPr>
          <p:cNvPr id="5" name="Rectangle 4" hidden="1">
            <a:extLst>
              <a:ext uri="{FF2B5EF4-FFF2-40B4-BE49-F238E27FC236}">
                <a16:creationId xmlns:a16="http://schemas.microsoft.com/office/drawing/2014/main" id="{BB0A5B87-F8B6-9F35-F02C-35F41470A52A}"/>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 name="Rectangle 5">
            <a:extLst>
              <a:ext uri="{FF2B5EF4-FFF2-40B4-BE49-F238E27FC236}">
                <a16:creationId xmlns:a16="http://schemas.microsoft.com/office/drawing/2014/main" id="{9CFFD33E-04D4-4948-A86D-27951AE94E3E}"/>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34021309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F09805-81CE-2941-C372-C5B1CE048827}"/>
              </a:ext>
            </a:extLst>
          </p:cNvPr>
          <p:cNvSpPr>
            <a:spLocks noGrp="1"/>
          </p:cNvSpPr>
          <p:nvPr>
            <p:ph idx="1"/>
          </p:nvPr>
        </p:nvSpPr>
        <p:spPr>
          <a:xfrm>
            <a:off x="968991" y="1385888"/>
            <a:ext cx="6707875" cy="4862512"/>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AC470E64-C4D8-BD94-5AFD-86FA8253263C}"/>
              </a:ext>
            </a:extLst>
          </p:cNvPr>
          <p:cNvSpPr>
            <a:spLocks noGrp="1"/>
          </p:cNvSpPr>
          <p:nvPr>
            <p:ph type="body" sz="half" idx="2"/>
          </p:nvPr>
        </p:nvSpPr>
        <p:spPr>
          <a:xfrm>
            <a:off x="8024884" y="1385888"/>
            <a:ext cx="3198125" cy="4862512"/>
          </a:xfrm>
        </p:spPr>
        <p:txBody>
          <a:bodyPr>
            <a:normAutofit/>
          </a:bodyPr>
          <a:lstStyle>
            <a:lvl1pPr marL="0" indent="0">
              <a:buNone/>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8452E6-F94E-251E-5ECC-B094FCD992D6}"/>
              </a:ext>
            </a:extLst>
          </p:cNvPr>
          <p:cNvSpPr>
            <a:spLocks noGrp="1"/>
          </p:cNvSpPr>
          <p:nvPr>
            <p:ph type="dt" sz="half" idx="10"/>
          </p:nvPr>
        </p:nvSpPr>
        <p:spPr/>
        <p:txBody>
          <a:bodyPr/>
          <a:lstStyle/>
          <a:p>
            <a:fld id="{561C3339-48DC-4E01-8F69-7C2C0A45F3FE}" type="datetime1">
              <a:rPr lang="en-US"/>
              <a:t>11/16/2024</a:t>
            </a:fld>
            <a:endParaRPr lang="en-US"/>
          </a:p>
        </p:txBody>
      </p:sp>
      <p:sp>
        <p:nvSpPr>
          <p:cNvPr id="6" name="Footer Placeholder 5">
            <a:extLst>
              <a:ext uri="{FF2B5EF4-FFF2-40B4-BE49-F238E27FC236}">
                <a16:creationId xmlns:a16="http://schemas.microsoft.com/office/drawing/2014/main" id="{70FD17E3-4E1B-0636-441D-7ADD024686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83CBF7-6916-5CC3-18D0-83418304233C}"/>
              </a:ext>
            </a:extLst>
          </p:cNvPr>
          <p:cNvSpPr>
            <a:spLocks noGrp="1"/>
          </p:cNvSpPr>
          <p:nvPr>
            <p:ph type="sldNum" sz="quarter" idx="12"/>
          </p:nvPr>
        </p:nvSpPr>
        <p:spPr/>
        <p:txBody>
          <a:bodyPr/>
          <a:lstStyle/>
          <a:p>
            <a:fld id="{BC856695-CDCE-4C54-BCD0-9C2D042065C7}" type="slidenum">
              <a:rPr lang="en-US"/>
              <a:t>‹#›</a:t>
            </a:fld>
            <a:endParaRPr lang="en-US"/>
          </a:p>
        </p:txBody>
      </p:sp>
      <p:sp>
        <p:nvSpPr>
          <p:cNvPr id="8" name="Title 7">
            <a:extLst>
              <a:ext uri="{FF2B5EF4-FFF2-40B4-BE49-F238E27FC236}">
                <a16:creationId xmlns:a16="http://schemas.microsoft.com/office/drawing/2014/main" id="{9783A81C-FA5D-D2CF-AFEE-5FFA396EDA7A}"/>
              </a:ext>
            </a:extLst>
          </p:cNvPr>
          <p:cNvSpPr>
            <a:spLocks noGrp="1"/>
          </p:cNvSpPr>
          <p:nvPr>
            <p:ph type="title"/>
          </p:nvPr>
        </p:nvSpPr>
        <p:spPr>
          <a:xfrm>
            <a:off x="968991" y="755176"/>
            <a:ext cx="10264581" cy="484188"/>
          </a:xfrm>
        </p:spPr>
        <p:txBody>
          <a:bodyPr/>
          <a:lstStyle/>
          <a:p>
            <a:r>
              <a:rPr lang="en-US"/>
              <a:t>Click to edit Master title style</a:t>
            </a:r>
            <a:endParaRPr lang="en-US" dirty="0"/>
          </a:p>
        </p:txBody>
      </p:sp>
      <p:sp>
        <p:nvSpPr>
          <p:cNvPr id="2" name="Rectangle 1" hidden="1">
            <a:extLst>
              <a:ext uri="{FF2B5EF4-FFF2-40B4-BE49-F238E27FC236}">
                <a16:creationId xmlns:a16="http://schemas.microsoft.com/office/drawing/2014/main" id="{F03B40E0-FD96-F751-B4B9-F88D8F9D49BD}"/>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9F30F42C-E461-36CD-8F14-BCAC2921E008}"/>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17161905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D62E83-265B-09B2-6CF6-9D8FD8C843D9}"/>
              </a:ext>
            </a:extLst>
          </p:cNvPr>
          <p:cNvSpPr>
            <a:spLocks noGrp="1"/>
          </p:cNvSpPr>
          <p:nvPr>
            <p:ph type="pic" idx="1"/>
          </p:nvPr>
        </p:nvSpPr>
        <p:spPr>
          <a:xfrm>
            <a:off x="968991" y="1385888"/>
            <a:ext cx="6707874" cy="4862513"/>
          </a:xfrm>
          <a:solidFill>
            <a:schemeClr val="bg2"/>
          </a:solidFill>
        </p:spPr>
        <p:txBody>
          <a:bodyPr anchor="ctr">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33BA915E-3484-B56F-D577-A3C897945701}"/>
              </a:ext>
            </a:extLst>
          </p:cNvPr>
          <p:cNvSpPr>
            <a:spLocks noGrp="1"/>
          </p:cNvSpPr>
          <p:nvPr>
            <p:ph type="body" sz="half" idx="2"/>
          </p:nvPr>
        </p:nvSpPr>
        <p:spPr>
          <a:xfrm>
            <a:off x="8024884" y="1385888"/>
            <a:ext cx="3198126" cy="486251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4A4274-8C0C-AFB5-5AF3-4F36C7E4B72A}"/>
              </a:ext>
            </a:extLst>
          </p:cNvPr>
          <p:cNvSpPr>
            <a:spLocks noGrp="1"/>
          </p:cNvSpPr>
          <p:nvPr>
            <p:ph type="dt" sz="half" idx="10"/>
          </p:nvPr>
        </p:nvSpPr>
        <p:spPr/>
        <p:txBody>
          <a:bodyPr/>
          <a:lstStyle/>
          <a:p>
            <a:fld id="{A367A225-C282-4934-9953-8BBD6694132B}" type="datetime1">
              <a:rPr lang="en-US"/>
              <a:t>11/16/2024</a:t>
            </a:fld>
            <a:endParaRPr lang="en-US"/>
          </a:p>
        </p:txBody>
      </p:sp>
      <p:sp>
        <p:nvSpPr>
          <p:cNvPr id="6" name="Footer Placeholder 5">
            <a:extLst>
              <a:ext uri="{FF2B5EF4-FFF2-40B4-BE49-F238E27FC236}">
                <a16:creationId xmlns:a16="http://schemas.microsoft.com/office/drawing/2014/main" id="{1DE13A4F-695C-EF32-09F0-CBD7E2BEA3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B91B97-7EBF-098A-07CD-3438C457DFEE}"/>
              </a:ext>
            </a:extLst>
          </p:cNvPr>
          <p:cNvSpPr>
            <a:spLocks noGrp="1"/>
          </p:cNvSpPr>
          <p:nvPr>
            <p:ph type="sldNum" sz="quarter" idx="12"/>
          </p:nvPr>
        </p:nvSpPr>
        <p:spPr/>
        <p:txBody>
          <a:bodyPr/>
          <a:lstStyle/>
          <a:p>
            <a:fld id="{BC856695-CDCE-4C54-BCD0-9C2D042065C7}" type="slidenum">
              <a:rPr lang="en-US"/>
              <a:t>‹#›</a:t>
            </a:fld>
            <a:endParaRPr lang="en-US"/>
          </a:p>
        </p:txBody>
      </p:sp>
      <p:sp>
        <p:nvSpPr>
          <p:cNvPr id="8" name="Title 7">
            <a:extLst>
              <a:ext uri="{FF2B5EF4-FFF2-40B4-BE49-F238E27FC236}">
                <a16:creationId xmlns:a16="http://schemas.microsoft.com/office/drawing/2014/main" id="{6290A51F-3EC3-30F4-FB04-C718255F3C49}"/>
              </a:ext>
            </a:extLst>
          </p:cNvPr>
          <p:cNvSpPr>
            <a:spLocks noGrp="1"/>
          </p:cNvSpPr>
          <p:nvPr>
            <p:ph type="title"/>
          </p:nvPr>
        </p:nvSpPr>
        <p:spPr/>
        <p:txBody>
          <a:bodyPr/>
          <a:lstStyle/>
          <a:p>
            <a:r>
              <a:rPr lang="en-US"/>
              <a:t>Click to edit Master title style</a:t>
            </a:r>
          </a:p>
        </p:txBody>
      </p:sp>
      <p:sp>
        <p:nvSpPr>
          <p:cNvPr id="2" name="Rectangle 1" hidden="1">
            <a:extLst>
              <a:ext uri="{FF2B5EF4-FFF2-40B4-BE49-F238E27FC236}">
                <a16:creationId xmlns:a16="http://schemas.microsoft.com/office/drawing/2014/main" id="{1B054DF0-DF75-44C8-68C1-466F3BA324A1}"/>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 name="Rectangle 8">
            <a:extLst>
              <a:ext uri="{FF2B5EF4-FFF2-40B4-BE49-F238E27FC236}">
                <a16:creationId xmlns:a16="http://schemas.microsoft.com/office/drawing/2014/main" id="{857F678A-5E0D-3779-7790-1F5D2BF100C0}"/>
              </a:ext>
            </a:extLst>
          </p:cNvPr>
          <p:cNvSpPr/>
          <p:nvPr userDrawn="1">
            <p:custDataLst>
              <p:tags r:id="rId2"/>
            </p:custDataLst>
          </p:nvPr>
        </p:nvSpPr>
        <p:spPr>
          <a:xfrm rot="16200000">
            <a:off x="9141966" y="3636530"/>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a:solidFill>
                  <a:srgbClr val="767171"/>
                </a:solidFill>
              </a:rPr>
              <a:t>CONFIDENTIAL INFORMATION | This information belongs to Embraer and cannot be used or reproduced without written permission from the Company.</a:t>
            </a:r>
            <a:endParaRPr lang="en-US" sz="650" dirty="0">
              <a:solidFill>
                <a:srgbClr val="767171"/>
              </a:solidFill>
            </a:endParaRPr>
          </a:p>
        </p:txBody>
      </p:sp>
    </p:spTree>
    <p:extLst>
      <p:ext uri="{BB962C8B-B14F-4D97-AF65-F5344CB8AC3E}">
        <p14:creationId xmlns:p14="http://schemas.microsoft.com/office/powerpoint/2010/main" val="14468097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49073E-283F-BDC5-B34D-6FD844D1F8A8}"/>
              </a:ext>
            </a:extLst>
          </p:cNvPr>
          <p:cNvSpPr>
            <a:spLocks noGrp="1"/>
          </p:cNvSpPr>
          <p:nvPr>
            <p:ph type="dt" sz="half" idx="10"/>
          </p:nvPr>
        </p:nvSpPr>
        <p:spPr/>
        <p:txBody>
          <a:bodyPr/>
          <a:lstStyle/>
          <a:p>
            <a:fld id="{0571B7C6-52CD-4083-8FDE-9E60929FE984}" type="datetime1">
              <a:rPr lang="en-US"/>
              <a:t>11/16/2024</a:t>
            </a:fld>
            <a:endParaRPr lang="en-US"/>
          </a:p>
        </p:txBody>
      </p:sp>
      <p:sp>
        <p:nvSpPr>
          <p:cNvPr id="4" name="Footer Placeholder 3">
            <a:extLst>
              <a:ext uri="{FF2B5EF4-FFF2-40B4-BE49-F238E27FC236}">
                <a16:creationId xmlns:a16="http://schemas.microsoft.com/office/drawing/2014/main" id="{BDEFAFDF-7668-93A2-8499-43835EF395D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61C1027-0ABF-8208-3E8C-AFF16E758137}"/>
              </a:ext>
            </a:extLst>
          </p:cNvPr>
          <p:cNvSpPr>
            <a:spLocks noGrp="1"/>
          </p:cNvSpPr>
          <p:nvPr>
            <p:ph type="sldNum" sz="quarter" idx="12"/>
          </p:nvPr>
        </p:nvSpPr>
        <p:spPr/>
        <p:txBody>
          <a:bodyPr/>
          <a:lstStyle/>
          <a:p>
            <a:fld id="{BC856695-CDCE-4C54-BCD0-9C2D042065C7}" type="slidenum">
              <a:rPr lang="en-US"/>
              <a:pPr/>
              <a:t>‹#›</a:t>
            </a:fld>
            <a:endParaRPr lang="en-US"/>
          </a:p>
        </p:txBody>
      </p:sp>
      <p:sp>
        <p:nvSpPr>
          <p:cNvPr id="6" name="Rectangle 5">
            <a:extLst>
              <a:ext uri="{FF2B5EF4-FFF2-40B4-BE49-F238E27FC236}">
                <a16:creationId xmlns:a16="http://schemas.microsoft.com/office/drawing/2014/main" id="{E72DB9B1-52DB-7D1E-8AF5-2C904B3F1C75}"/>
              </a:ext>
            </a:extLst>
          </p:cNvPr>
          <p:cNvSpPr/>
          <p:nvPr userDrawn="1"/>
        </p:nvSpPr>
        <p:spPr>
          <a:xfrm>
            <a:off x="0"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800" b="1" cap="all" baseline="0" dirty="0">
                <a:latin typeface="+mj-lt"/>
              </a:rPr>
              <a:t>DON’T REUSE LAYOUTS </a:t>
            </a:r>
            <a:br>
              <a:rPr lang="en-US" sz="13800" b="1" cap="all" baseline="0" dirty="0">
                <a:latin typeface="+mj-lt"/>
              </a:rPr>
            </a:br>
            <a:r>
              <a:rPr lang="en-US" sz="13800" b="1" cap="all" baseline="0" dirty="0">
                <a:latin typeface="+mj-lt"/>
              </a:rPr>
              <a:t>AFTER THIS</a:t>
            </a:r>
          </a:p>
        </p:txBody>
      </p:sp>
    </p:spTree>
    <p:extLst>
      <p:ext uri="{BB962C8B-B14F-4D97-AF65-F5344CB8AC3E}">
        <p14:creationId xmlns:p14="http://schemas.microsoft.com/office/powerpoint/2010/main" val="1124678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 With Content + Horizontal Compliance Text ">
    <p:spTree>
      <p:nvGrpSpPr>
        <p:cNvPr id="1" name=""/>
        <p:cNvGrpSpPr/>
        <p:nvPr/>
      </p:nvGrpSpPr>
      <p:grpSpPr>
        <a:xfrm>
          <a:off x="0" y="0"/>
          <a:ext cx="0" cy="0"/>
          <a:chOff x="0" y="0"/>
          <a:chExt cx="0" cy="0"/>
        </a:xfrm>
      </p:grpSpPr>
      <p:sp>
        <p:nvSpPr>
          <p:cNvPr id="5" name="MIO_CONVERT_SLIDES_SUBTITLE">
            <a:extLst>
              <a:ext uri="{FF2B5EF4-FFF2-40B4-BE49-F238E27FC236}">
                <a16:creationId xmlns:a16="http://schemas.microsoft.com/office/drawing/2014/main" id="{FAE10381-1D39-D64C-9A14-3D788E74889D}"/>
              </a:ext>
            </a:extLst>
          </p:cNvPr>
          <p:cNvSpPr>
            <a:spLocks noGrp="1"/>
          </p:cNvSpPr>
          <p:nvPr>
            <p:ph type="subTitle" idx="1" hasCustomPrompt="1"/>
          </p:nvPr>
        </p:nvSpPr>
        <p:spPr>
          <a:xfrm>
            <a:off x="968991" y="1299275"/>
            <a:ext cx="10264581" cy="332399"/>
          </a:xfrm>
          <a:prstGeom prst="rect">
            <a:avLst/>
          </a:prstGeom>
        </p:spPr>
        <p:txBody>
          <a:bodyPr wrap="square" lIns="18000">
            <a:spAutoFit/>
          </a:bodyPr>
          <a:lstStyle>
            <a:lvl1pPr marL="0" indent="0" algn="l">
              <a:buNone/>
              <a:defRPr sz="2400" b="0" cap="all" baseline="0">
                <a:solidFill>
                  <a:schemeClr val="tx2"/>
                </a:solidFill>
                <a:latin typeface="+mj-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Subtitle Example</a:t>
            </a:r>
          </a:p>
        </p:txBody>
      </p:sp>
      <p:sp>
        <p:nvSpPr>
          <p:cNvPr id="2" name="Title 1">
            <a:extLst>
              <a:ext uri="{FF2B5EF4-FFF2-40B4-BE49-F238E27FC236}">
                <a16:creationId xmlns:a16="http://schemas.microsoft.com/office/drawing/2014/main" id="{B2B261FC-AE18-E05F-0C8E-9528EDDCCA33}"/>
              </a:ext>
            </a:extLst>
          </p:cNvPr>
          <p:cNvSpPr>
            <a:spLocks noGrp="1"/>
          </p:cNvSpPr>
          <p:nvPr>
            <p:ph type="title"/>
          </p:nvPr>
        </p:nvSpPr>
        <p:spPr>
          <a:xfrm>
            <a:off x="968991" y="755176"/>
            <a:ext cx="10264581" cy="484188"/>
          </a:xfrm>
        </p:spPr>
        <p:txBody>
          <a:bodyPr/>
          <a:lstStyle>
            <a:lvl1pPr>
              <a:defRPr>
                <a:latin typeface="+mj-lt"/>
              </a:defRPr>
            </a:lvl1p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F14B692B-7C5A-472A-1300-1BF88BDE6F34}"/>
              </a:ext>
            </a:extLst>
          </p:cNvPr>
          <p:cNvSpPr/>
          <p:nvPr userDrawn="1">
            <p:custDataLst>
              <p:tags r:id="rId1"/>
            </p:custDataLst>
          </p:nvPr>
        </p:nvSpPr>
        <p:spPr>
          <a:xfrm>
            <a:off x="11723426" y="1"/>
            <a:ext cx="468573" cy="5595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2" name="Content Placeholder">
            <a:extLst>
              <a:ext uri="{FF2B5EF4-FFF2-40B4-BE49-F238E27FC236}">
                <a16:creationId xmlns:a16="http://schemas.microsoft.com/office/drawing/2014/main" id="{B3B93096-4DAF-0022-8072-39E9F0673177}"/>
              </a:ext>
            </a:extLst>
          </p:cNvPr>
          <p:cNvSpPr>
            <a:spLocks noGrp="1"/>
          </p:cNvSpPr>
          <p:nvPr>
            <p:ph sz="quarter" idx="15"/>
          </p:nvPr>
        </p:nvSpPr>
        <p:spPr>
          <a:xfrm>
            <a:off x="968375" y="1989138"/>
            <a:ext cx="10261600" cy="4260850"/>
          </a:xfrm>
        </p:spPr>
        <p:txBody>
          <a:bodyPr/>
          <a:lstStyle>
            <a:lvl1pPr marL="0" indent="0">
              <a:lnSpc>
                <a:spcPct val="120000"/>
              </a:lnSpc>
              <a:spcBef>
                <a:spcPts val="1000"/>
              </a:spcBef>
              <a:buNone/>
              <a:defRPr/>
            </a:lvl1pPr>
            <a:lvl2pPr marL="169863" indent="0">
              <a:spcBef>
                <a:spcPts val="1000"/>
              </a:spcBef>
              <a:buNone/>
              <a:defRPr/>
            </a:lvl2pPr>
            <a:lvl3pPr marL="341312" indent="0">
              <a:spcBef>
                <a:spcPts val="1000"/>
              </a:spcBef>
              <a:buNone/>
              <a:defRPr/>
            </a:lvl3pPr>
            <a:lvl4pPr marL="511175" indent="0">
              <a:spcBef>
                <a:spcPts val="1000"/>
              </a:spcBef>
              <a:buNone/>
              <a:defRPr/>
            </a:lvl4pPr>
            <a:lvl5pPr marL="688975" indent="0">
              <a:spcBef>
                <a:spcPts val="1000"/>
              </a:spcBef>
              <a:buNone/>
              <a:defRPr/>
            </a:lvl5pPr>
          </a:lstStyle>
          <a:p>
            <a:pPr lvl="0"/>
            <a:r>
              <a:rPr lang="en-US"/>
              <a:t>Click to edit Master text styles</a:t>
            </a:r>
          </a:p>
        </p:txBody>
      </p:sp>
      <p:sp>
        <p:nvSpPr>
          <p:cNvPr id="45" name="Date Placeholder 44">
            <a:extLst>
              <a:ext uri="{FF2B5EF4-FFF2-40B4-BE49-F238E27FC236}">
                <a16:creationId xmlns:a16="http://schemas.microsoft.com/office/drawing/2014/main" id="{A74729B0-3C70-7ADF-240E-5F9F6EE75219}"/>
              </a:ext>
            </a:extLst>
          </p:cNvPr>
          <p:cNvSpPr>
            <a:spLocks noGrp="1"/>
          </p:cNvSpPr>
          <p:nvPr>
            <p:ph type="dt" sz="half" idx="19"/>
          </p:nvPr>
        </p:nvSpPr>
        <p:spPr/>
        <p:txBody>
          <a:bodyPr/>
          <a:lstStyle/>
          <a:p>
            <a:fld id="{B6AE3059-CCDA-4083-A0D0-C7FE19302D82}" type="datetime1">
              <a:rPr lang="en-US"/>
              <a:t>11/16/2024</a:t>
            </a:fld>
            <a:endParaRPr lang="en-US" dirty="0"/>
          </a:p>
        </p:txBody>
      </p:sp>
      <p:sp>
        <p:nvSpPr>
          <p:cNvPr id="46" name="Footer Placeholder 45">
            <a:extLst>
              <a:ext uri="{FF2B5EF4-FFF2-40B4-BE49-F238E27FC236}">
                <a16:creationId xmlns:a16="http://schemas.microsoft.com/office/drawing/2014/main" id="{F4D6E970-009D-2CB2-A16E-9D8866B55F0E}"/>
              </a:ext>
            </a:extLst>
          </p:cNvPr>
          <p:cNvSpPr>
            <a:spLocks noGrp="1"/>
          </p:cNvSpPr>
          <p:nvPr>
            <p:ph type="ftr" sz="quarter" idx="20"/>
          </p:nvPr>
        </p:nvSpPr>
        <p:spPr/>
        <p:txBody>
          <a:bodyPr/>
          <a:lstStyle/>
          <a:p>
            <a:endParaRPr lang="en-US" dirty="0"/>
          </a:p>
        </p:txBody>
      </p:sp>
      <p:sp>
        <p:nvSpPr>
          <p:cNvPr id="47" name="Slide Number Placeholder">
            <a:extLst>
              <a:ext uri="{FF2B5EF4-FFF2-40B4-BE49-F238E27FC236}">
                <a16:creationId xmlns:a16="http://schemas.microsoft.com/office/drawing/2014/main" id="{AFF030B7-FBBA-FDA9-426B-CC9047C6C7F6}"/>
              </a:ext>
            </a:extLst>
          </p:cNvPr>
          <p:cNvSpPr>
            <a:spLocks noGrp="1"/>
          </p:cNvSpPr>
          <p:nvPr>
            <p:ph type="sldNum" sz="quarter" idx="21"/>
          </p:nvPr>
        </p:nvSpPr>
        <p:spPr/>
        <p:txBody>
          <a:bodyPr/>
          <a:lstStyle/>
          <a:p>
            <a:fld id="{BC856695-CDCE-4C54-BCD0-9C2D042065C7}" type="slidenum">
              <a:rPr lang="en-US"/>
              <a:pPr/>
              <a:t>‹#›</a:t>
            </a:fld>
            <a:endParaRPr lang="en-US" dirty="0"/>
          </a:p>
        </p:txBody>
      </p:sp>
      <p:sp>
        <p:nvSpPr>
          <p:cNvPr id="4" name="Logo Placeholder 30">
            <a:extLst>
              <a:ext uri="{FF2B5EF4-FFF2-40B4-BE49-F238E27FC236}">
                <a16:creationId xmlns:a16="http://schemas.microsoft.com/office/drawing/2014/main" id="{CF6C1A48-C70D-C5D0-4BFB-5A038AB5D213}"/>
              </a:ext>
            </a:extLst>
          </p:cNvPr>
          <p:cNvSpPr txBox="1">
            <a:spLocks/>
          </p:cNvSpPr>
          <p:nvPr userDrawn="1">
            <p:custDataLst>
              <p:tags r:id="rId2"/>
            </p:custDataLst>
          </p:nvPr>
        </p:nvSpPr>
        <p:spPr>
          <a:xfrm>
            <a:off x="11827011" y="223406"/>
            <a:ext cx="179699" cy="179673"/>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6" name="Business Unit Placeholder 28">
            <a:extLst>
              <a:ext uri="{FF2B5EF4-FFF2-40B4-BE49-F238E27FC236}">
                <a16:creationId xmlns:a16="http://schemas.microsoft.com/office/drawing/2014/main" id="{72D9B892-0E27-82CC-1D69-92C631F6C32E}"/>
              </a:ext>
            </a:extLst>
          </p:cNvPr>
          <p:cNvSpPr txBox="1">
            <a:spLocks/>
          </p:cNvSpPr>
          <p:nvPr userDrawn="1">
            <p:custDataLst>
              <p:tags r:id="rId3"/>
            </p:custDataLst>
          </p:nvPr>
        </p:nvSpPr>
        <p:spPr>
          <a:xfrm>
            <a:off x="196779" y="200856"/>
            <a:ext cx="714096" cy="283877"/>
          </a:xfrm>
          <a:prstGeom prst="rect">
            <a:avLst/>
          </a:prstGeom>
          <a:blipFill>
            <a:blip r:embed="rId8">
              <a:extLst>
                <a:ext uri="{96DAC541-7B7A-43D3-8B79-37D633B846F1}">
                  <asvg:svgBlip xmlns:asvg="http://schemas.microsoft.com/office/drawing/2016/SVG/main" r:embed="rId9"/>
                </a:ext>
              </a:extLst>
            </a:blip>
            <a:stretch>
              <a:fillRect/>
            </a:stretch>
          </a:blipFill>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a:t>
            </a:r>
            <a:endParaRPr lang="en-US" dirty="0"/>
          </a:p>
        </p:txBody>
      </p:sp>
      <p:sp>
        <p:nvSpPr>
          <p:cNvPr id="7" name="Confidential Horizontal">
            <a:extLst>
              <a:ext uri="{FF2B5EF4-FFF2-40B4-BE49-F238E27FC236}">
                <a16:creationId xmlns:a16="http://schemas.microsoft.com/office/drawing/2014/main" id="{339389CA-E38B-B7BA-D54E-8E99597539DB}"/>
              </a:ext>
            </a:extLst>
          </p:cNvPr>
          <p:cNvSpPr/>
          <p:nvPr userDrawn="1">
            <p:custDataLst>
              <p:tags r:id="rId4"/>
            </p:custDataLst>
          </p:nvPr>
        </p:nvSpPr>
        <p:spPr>
          <a:xfrm>
            <a:off x="225927" y="6665863"/>
            <a:ext cx="5894114" cy="12283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US" sz="650" dirty="0">
                <a:solidFill>
                  <a:srgbClr val="767171"/>
                </a:solidFill>
              </a:rPr>
              <a:t>CONFIDENTIAL INFORMATION | This information belongs to Embraer and cannot be used or reproduced without written permission from the Company.</a:t>
            </a:r>
          </a:p>
        </p:txBody>
      </p:sp>
    </p:spTree>
    <p:extLst>
      <p:ext uri="{BB962C8B-B14F-4D97-AF65-F5344CB8AC3E}">
        <p14:creationId xmlns:p14="http://schemas.microsoft.com/office/powerpoint/2010/main" val="204596972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heme" Target="../theme/theme1.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41CAF0-DCEB-218B-78F5-961C4A872935}"/>
              </a:ext>
            </a:extLst>
          </p:cNvPr>
          <p:cNvSpPr>
            <a:spLocks noGrp="1"/>
          </p:cNvSpPr>
          <p:nvPr>
            <p:ph type="title"/>
          </p:nvPr>
        </p:nvSpPr>
        <p:spPr>
          <a:xfrm>
            <a:off x="968991" y="755176"/>
            <a:ext cx="10264581" cy="484188"/>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991DA0-B366-55FC-04C1-8557F0E09BB6}"/>
              </a:ext>
            </a:extLst>
          </p:cNvPr>
          <p:cNvSpPr>
            <a:spLocks noGrp="1"/>
          </p:cNvSpPr>
          <p:nvPr>
            <p:ph type="body" idx="1"/>
          </p:nvPr>
        </p:nvSpPr>
        <p:spPr>
          <a:xfrm>
            <a:off x="968992" y="1989137"/>
            <a:ext cx="10261195" cy="425243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EDBB92A-C803-0230-1528-D74DBA82CAA9}"/>
              </a:ext>
            </a:extLst>
          </p:cNvPr>
          <p:cNvSpPr>
            <a:spLocks noGrp="1"/>
          </p:cNvSpPr>
          <p:nvPr>
            <p:ph type="dt" sz="half" idx="2"/>
          </p:nvPr>
        </p:nvSpPr>
        <p:spPr>
          <a:xfrm>
            <a:off x="0" y="6861317"/>
            <a:ext cx="952500" cy="92217"/>
          </a:xfrm>
          <a:prstGeom prst="rect">
            <a:avLst/>
          </a:prstGeom>
        </p:spPr>
        <p:txBody>
          <a:bodyPr vert="horz" lIns="91440" tIns="45720" rIns="91440" bIns="45720" rtlCol="0" anchor="ctr"/>
          <a:lstStyle>
            <a:lvl1pPr algn="l">
              <a:defRPr sz="500">
                <a:solidFill>
                  <a:schemeClr val="tx1">
                    <a:tint val="75000"/>
                  </a:schemeClr>
                </a:solidFill>
              </a:defRPr>
            </a:lvl1pPr>
          </a:lstStyle>
          <a:p>
            <a:fld id="{26134387-EAA5-4CB3-A5C0-4F509F3F220F}" type="datetime1">
              <a:rPr lang="en-US"/>
              <a:t>11/16/2024</a:t>
            </a:fld>
            <a:endParaRPr lang="en-US" dirty="0"/>
          </a:p>
        </p:txBody>
      </p:sp>
      <p:sp>
        <p:nvSpPr>
          <p:cNvPr id="6" name="Slide Number Placeholder 5">
            <a:extLst>
              <a:ext uri="{FF2B5EF4-FFF2-40B4-BE49-F238E27FC236}">
                <a16:creationId xmlns:a16="http://schemas.microsoft.com/office/drawing/2014/main" id="{5137B904-2525-7706-6043-084336E8F2F3}"/>
              </a:ext>
            </a:extLst>
          </p:cNvPr>
          <p:cNvSpPr>
            <a:spLocks noGrp="1"/>
          </p:cNvSpPr>
          <p:nvPr>
            <p:ph type="sldNum" sz="quarter" idx="4"/>
          </p:nvPr>
        </p:nvSpPr>
        <p:spPr>
          <a:xfrm>
            <a:off x="11883812" y="6861317"/>
            <a:ext cx="308187" cy="92217"/>
          </a:xfrm>
          <a:prstGeom prst="rect">
            <a:avLst/>
          </a:prstGeom>
        </p:spPr>
        <p:txBody>
          <a:bodyPr vert="horz" lIns="91440" tIns="45720" rIns="91440" bIns="45720" rtlCol="0" anchor="ctr"/>
          <a:lstStyle>
            <a:lvl1pPr algn="r">
              <a:defRPr sz="500">
                <a:solidFill>
                  <a:schemeClr val="tx1">
                    <a:tint val="75000"/>
                  </a:schemeClr>
                </a:solidFill>
              </a:defRPr>
            </a:lvl1pPr>
          </a:lstStyle>
          <a:p>
            <a:fld id="{BC856695-CDCE-4C54-BCD0-9C2D042065C7}" type="slidenum">
              <a:rPr lang="en-US"/>
              <a:pPr/>
              <a:t>‹#›</a:t>
            </a:fld>
            <a:endParaRPr lang="en-US" dirty="0"/>
          </a:p>
        </p:txBody>
      </p:sp>
      <p:sp>
        <p:nvSpPr>
          <p:cNvPr id="5" name="Footer Placeholder 4">
            <a:extLst>
              <a:ext uri="{FF2B5EF4-FFF2-40B4-BE49-F238E27FC236}">
                <a16:creationId xmlns:a16="http://schemas.microsoft.com/office/drawing/2014/main" id="{47818B78-1CD1-EFDC-0E42-CE614F4626C9}"/>
              </a:ext>
            </a:extLst>
          </p:cNvPr>
          <p:cNvSpPr>
            <a:spLocks noGrp="1"/>
          </p:cNvSpPr>
          <p:nvPr>
            <p:ph type="ftr" sz="quarter" idx="3"/>
          </p:nvPr>
        </p:nvSpPr>
        <p:spPr>
          <a:xfrm>
            <a:off x="968991" y="6869578"/>
            <a:ext cx="6858000" cy="92217"/>
          </a:xfrm>
          <a:prstGeom prst="rect">
            <a:avLst/>
          </a:prstGeom>
        </p:spPr>
        <p:txBody>
          <a:bodyPr vert="horz" lIns="91440" tIns="45720" rIns="91440" bIns="45720" rtlCol="0" anchor="ctr"/>
          <a:lstStyle>
            <a:lvl1pPr algn="l">
              <a:defRPr sz="500">
                <a:solidFill>
                  <a:schemeClr val="tx1">
                    <a:tint val="75000"/>
                  </a:schemeClr>
                </a:solidFill>
              </a:defRPr>
            </a:lvl1pPr>
          </a:lstStyle>
          <a:p>
            <a:endParaRPr lang="en-US" dirty="0"/>
          </a:p>
        </p:txBody>
      </p:sp>
      <p:sp>
        <p:nvSpPr>
          <p:cNvPr id="7" name="empower - DO NOT DELETE!!!" hidden="1">
            <a:extLst>
              <a:ext uri="{FF2B5EF4-FFF2-40B4-BE49-F238E27FC236}">
                <a16:creationId xmlns:a16="http://schemas.microsoft.com/office/drawing/2014/main" id="{72E67B04-44F2-621A-C251-51BDA62E62E8}"/>
              </a:ext>
            </a:extLst>
          </p:cNvPr>
          <p:cNvSpPr/>
          <p:nvPr userDrawn="1">
            <p:custDataLst>
              <p:tags r:id="rId91"/>
            </p:custDataLst>
          </p:nvPr>
        </p:nvSpPr>
        <p:spPr>
          <a:xfrm>
            <a:off x="0" y="0"/>
            <a:ext cx="0" cy="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Tree>
    <p:extLst>
      <p:ext uri="{BB962C8B-B14F-4D97-AF65-F5344CB8AC3E}">
        <p14:creationId xmlns:p14="http://schemas.microsoft.com/office/powerpoint/2010/main" val="4149181622"/>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2" r:id="rId5"/>
    <p:sldLayoutId id="2147484391" r:id="rId6"/>
    <p:sldLayoutId id="2147484537" r:id="rId7"/>
    <p:sldLayoutId id="2147484538" r:id="rId8"/>
    <p:sldLayoutId id="2147484542" r:id="rId9"/>
    <p:sldLayoutId id="2147484544" r:id="rId10"/>
    <p:sldLayoutId id="2147484486" r:id="rId11"/>
    <p:sldLayoutId id="2147484494" r:id="rId12"/>
    <p:sldLayoutId id="2147484495" r:id="rId13"/>
    <p:sldLayoutId id="2147484496" r:id="rId14"/>
    <p:sldLayoutId id="2147484539" r:id="rId15"/>
    <p:sldLayoutId id="2147484540" r:id="rId16"/>
    <p:sldLayoutId id="2147484543" r:id="rId17"/>
    <p:sldLayoutId id="2147484485" r:id="rId18"/>
    <p:sldLayoutId id="2147484535" r:id="rId19"/>
    <p:sldLayoutId id="2147484501" r:id="rId20"/>
    <p:sldLayoutId id="2147484502" r:id="rId21"/>
    <p:sldLayoutId id="2147484424" r:id="rId22"/>
    <p:sldLayoutId id="2147484425" r:id="rId23"/>
    <p:sldLayoutId id="2147484419" r:id="rId24"/>
    <p:sldLayoutId id="2147484475" r:id="rId25"/>
    <p:sldLayoutId id="2147484503" r:id="rId26"/>
    <p:sldLayoutId id="2147484504" r:id="rId27"/>
    <p:sldLayoutId id="2147484505" r:id="rId28"/>
    <p:sldLayoutId id="2147484418" r:id="rId29"/>
    <p:sldLayoutId id="2147484420" r:id="rId30"/>
    <p:sldLayoutId id="2147484474" r:id="rId31"/>
    <p:sldLayoutId id="2147484476" r:id="rId32"/>
    <p:sldLayoutId id="2147484506" r:id="rId33"/>
    <p:sldLayoutId id="2147484507" r:id="rId34"/>
    <p:sldLayoutId id="2147484508" r:id="rId35"/>
    <p:sldLayoutId id="2147484426" r:id="rId36"/>
    <p:sldLayoutId id="2147484427" r:id="rId37"/>
    <p:sldLayoutId id="2147484541" r:id="rId38"/>
    <p:sldLayoutId id="2147484440" r:id="rId39"/>
    <p:sldLayoutId id="2147484439" r:id="rId40"/>
    <p:sldLayoutId id="2147484431" r:id="rId41"/>
    <p:sldLayoutId id="2147484444" r:id="rId42"/>
    <p:sldLayoutId id="2147484438" r:id="rId43"/>
    <p:sldLayoutId id="2147484458" r:id="rId44"/>
    <p:sldLayoutId id="2147484445" r:id="rId45"/>
    <p:sldLayoutId id="2147484432" r:id="rId46"/>
    <p:sldLayoutId id="2147484459" r:id="rId47"/>
    <p:sldLayoutId id="2147484446" r:id="rId48"/>
    <p:sldLayoutId id="2147484435" r:id="rId49"/>
    <p:sldLayoutId id="2147484452" r:id="rId50"/>
    <p:sldLayoutId id="2147484447" r:id="rId51"/>
    <p:sldLayoutId id="2147484434" r:id="rId52"/>
    <p:sldLayoutId id="2147484453" r:id="rId53"/>
    <p:sldLayoutId id="2147484448" r:id="rId54"/>
    <p:sldLayoutId id="2147484436" r:id="rId55"/>
    <p:sldLayoutId id="2147484454" r:id="rId56"/>
    <p:sldLayoutId id="2147484449" r:id="rId57"/>
    <p:sldLayoutId id="2147484437" r:id="rId58"/>
    <p:sldLayoutId id="2147484455" r:id="rId59"/>
    <p:sldLayoutId id="2147484462" r:id="rId60"/>
    <p:sldLayoutId id="2147484463" r:id="rId61"/>
    <p:sldLayoutId id="2147484464" r:id="rId62"/>
    <p:sldLayoutId id="2147484465" r:id="rId63"/>
    <p:sldLayoutId id="2147484511" r:id="rId64"/>
    <p:sldLayoutId id="2147484520" r:id="rId65"/>
    <p:sldLayoutId id="2147484519" r:id="rId66"/>
    <p:sldLayoutId id="2147484516" r:id="rId67"/>
    <p:sldLayoutId id="2147484517" r:id="rId68"/>
    <p:sldLayoutId id="2147483715" r:id="rId69"/>
    <p:sldLayoutId id="2147483716" r:id="rId70"/>
    <p:sldLayoutId id="2147483717" r:id="rId71"/>
    <p:sldLayoutId id="2147483718" r:id="rId72"/>
    <p:sldLayoutId id="2147483835" r:id="rId73"/>
    <p:sldLayoutId id="2147483837" r:id="rId74"/>
    <p:sldLayoutId id="2147483836" r:id="rId75"/>
    <p:sldLayoutId id="2147484521" r:id="rId76"/>
    <p:sldLayoutId id="2147484533" r:id="rId77"/>
    <p:sldLayoutId id="2147484510" r:id="rId78"/>
    <p:sldLayoutId id="2147484384" r:id="rId79"/>
    <p:sldLayoutId id="2147484316" r:id="rId80"/>
    <p:sldLayoutId id="2147484317" r:id="rId81"/>
    <p:sldLayoutId id="2147484318" r:id="rId82"/>
    <p:sldLayoutId id="2147484319" r:id="rId83"/>
    <p:sldLayoutId id="2147484320" r:id="rId84"/>
    <p:sldLayoutId id="2147484321" r:id="rId85"/>
    <p:sldLayoutId id="2147484322" r:id="rId86"/>
    <p:sldLayoutId id="2147484323" r:id="rId87"/>
    <p:sldLayoutId id="2147484324" r:id="rId88"/>
    <p:sldLayoutId id="2147484325" r:id="rId89"/>
  </p:sldLayoutIdLst>
  <p:hf sldNum="0" hdr="0" ftr="0" dt="0"/>
  <p:txStyles>
    <p:titleStyle>
      <a:lvl1pPr algn="l" defTabSz="914400" rtl="0" eaLnBrk="1" latinLnBrk="0" hangingPunct="1">
        <a:lnSpc>
          <a:spcPct val="90000"/>
        </a:lnSpc>
        <a:spcBef>
          <a:spcPct val="0"/>
        </a:spcBef>
        <a:buNone/>
        <a:defRPr sz="3200" b="1" kern="1200" cap="all" baseline="0">
          <a:solidFill>
            <a:schemeClr val="accent1"/>
          </a:solidFill>
          <a:latin typeface="+mj-lt"/>
          <a:ea typeface="+mj-ea"/>
          <a:cs typeface="+mj-cs"/>
        </a:defRPr>
      </a:lvl1pPr>
    </p:titleStyle>
    <p:bodyStyle>
      <a:lvl1pPr marL="169863" indent="-169863" algn="l" defTabSz="914400" rtl="0" eaLnBrk="1" latinLnBrk="0" hangingPunct="1">
        <a:lnSpc>
          <a:spcPct val="90000"/>
        </a:lnSpc>
        <a:spcBef>
          <a:spcPts val="1000"/>
        </a:spcBef>
        <a:buFont typeface="Arial" panose="020B0604020202020204" pitchFamily="34" charset="0"/>
        <a:buChar char="•"/>
        <a:defRPr sz="1800" kern="1200">
          <a:solidFill>
            <a:schemeClr val="bg1">
              <a:lumMod val="50000"/>
            </a:schemeClr>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73" userDrawn="1">
          <p15:clr>
            <a:srgbClr val="F26B43"/>
          </p15:clr>
        </p15:guide>
        <p15:guide id="2" pos="610" userDrawn="1">
          <p15:clr>
            <a:srgbClr val="F26B43"/>
          </p15:clr>
        </p15:guide>
        <p15:guide id="4" pos="7074" userDrawn="1">
          <p15:clr>
            <a:srgbClr val="F26B43"/>
          </p15:clr>
        </p15:guide>
        <p15:guide id="5" orient="horz" pos="3937" userDrawn="1">
          <p15:clr>
            <a:srgbClr val="F26B43"/>
          </p15:clr>
        </p15:guide>
        <p15:guide id="6" orient="horz" pos="822" userDrawn="1">
          <p15:clr>
            <a:srgbClr val="F26B43"/>
          </p15:clr>
        </p15:guide>
        <p15:guide id="7" orient="horz" pos="1253" userDrawn="1">
          <p15:clr>
            <a:srgbClr val="F26B43"/>
          </p15:clr>
        </p15:guide>
        <p15:guide id="8" pos="3840" userDrawn="1">
          <p15:clr>
            <a:srgbClr val="F26B43"/>
          </p15:clr>
        </p15:guide>
        <p15:guide id="9" pos="3386" userDrawn="1">
          <p15:clr>
            <a:srgbClr val="F26B43"/>
          </p15:clr>
        </p15:guide>
        <p15:guide id="10" pos="2933" userDrawn="1">
          <p15:clr>
            <a:srgbClr val="F26B43"/>
          </p15:clr>
        </p15:guide>
        <p15:guide id="11"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4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slideLayout" Target="../slideLayouts/slideLayout37.xml"/><Relationship Id="rId4" Type="http://schemas.openxmlformats.org/officeDocument/2006/relationships/tags" Target="../tags/tag2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viation Day Canada Coming to Ottawa – National Airlines Council of Canada">
            <a:extLst>
              <a:ext uri="{FF2B5EF4-FFF2-40B4-BE49-F238E27FC236}">
                <a16:creationId xmlns:a16="http://schemas.microsoft.com/office/drawing/2014/main" id="{974F97F5-52F8-3E4D-8143-6DC7C070AD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8">
            <a:extLst>
              <a:ext uri="{FF2B5EF4-FFF2-40B4-BE49-F238E27FC236}">
                <a16:creationId xmlns:a16="http://schemas.microsoft.com/office/drawing/2014/main" id="{7CB1CD26-7184-E595-0B7E-B0F5F1301B50}"/>
              </a:ext>
            </a:extLst>
          </p:cNvPr>
          <p:cNvSpPr>
            <a:spLocks noGrp="1"/>
          </p:cNvSpPr>
          <p:nvPr>
            <p:ph type="body" sz="quarter" idx="29"/>
            <p:custDataLst>
              <p:tags r:id="rId1"/>
            </p:custDataLst>
          </p:nvPr>
        </p:nvSpPr>
        <p:spPr>
          <a:xfrm>
            <a:off x="2589291" y="4489930"/>
            <a:ext cx="6977518" cy="584775"/>
          </a:xfrm>
        </p:spPr>
        <p:txBody>
          <a:bodyPr>
            <a:normAutofit fontScale="85000" lnSpcReduction="10000"/>
          </a:bodyPr>
          <a:lstStyle/>
          <a:p>
            <a:r>
              <a:rPr lang="en-US" b="1" dirty="0">
                <a:solidFill>
                  <a:schemeClr val="tx1"/>
                </a:solidFill>
              </a:rPr>
              <a:t>Analyzing The Canadian Aviation Market </a:t>
            </a:r>
          </a:p>
        </p:txBody>
      </p:sp>
      <p:sp>
        <p:nvSpPr>
          <p:cNvPr id="20" name="Text Placeholder 19">
            <a:extLst>
              <a:ext uri="{FF2B5EF4-FFF2-40B4-BE49-F238E27FC236}">
                <a16:creationId xmlns:a16="http://schemas.microsoft.com/office/drawing/2014/main" id="{11A03762-1441-7CF7-2D60-BD2703883F8E}"/>
              </a:ext>
            </a:extLst>
          </p:cNvPr>
          <p:cNvSpPr>
            <a:spLocks noGrp="1"/>
          </p:cNvSpPr>
          <p:nvPr>
            <p:ph type="body" sz="quarter" idx="30"/>
            <p:custDataLst>
              <p:tags r:id="rId2"/>
            </p:custDataLst>
          </p:nvPr>
        </p:nvSpPr>
        <p:spPr/>
        <p:txBody>
          <a:bodyPr/>
          <a:lstStyle/>
          <a:p>
            <a:r>
              <a:rPr lang="en-US" b="1" dirty="0">
                <a:solidFill>
                  <a:schemeClr val="tx1"/>
                </a:solidFill>
              </a:rPr>
              <a:t>November 2024</a:t>
            </a:r>
          </a:p>
        </p:txBody>
      </p:sp>
      <p:sp>
        <p:nvSpPr>
          <p:cNvPr id="21" name="Text Placeholder 19">
            <a:extLst>
              <a:ext uri="{FF2B5EF4-FFF2-40B4-BE49-F238E27FC236}">
                <a16:creationId xmlns:a16="http://schemas.microsoft.com/office/drawing/2014/main" id="{D442E7DD-58A8-025D-1543-D4E6239C3801}"/>
              </a:ext>
            </a:extLst>
          </p:cNvPr>
          <p:cNvSpPr txBox="1">
            <a:spLocks/>
          </p:cNvSpPr>
          <p:nvPr>
            <p:custDataLst>
              <p:tags r:id="rId3"/>
            </p:custDataLst>
          </p:nvPr>
        </p:nvSpPr>
        <p:spPr>
          <a:xfrm>
            <a:off x="2607241" y="5866367"/>
            <a:ext cx="6977518" cy="461665"/>
          </a:xfrm>
          <a:prstGeom prst="rect">
            <a:avLst/>
          </a:prstGeom>
        </p:spPr>
        <p:txBody>
          <a:bodyPr vert="horz" lIns="0" tIns="0" rIns="0" bIns="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341313"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2pPr>
            <a:lvl3pPr marL="511175" indent="-169863"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3pPr>
            <a:lvl4pPr marL="688975" indent="-17780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4pPr>
            <a:lvl5pPr marL="860425" indent="-171450" algn="l" defTabSz="914400" rtl="0" eaLnBrk="1" latinLnBrk="0" hangingPunct="1">
              <a:lnSpc>
                <a:spcPct val="90000"/>
              </a:lnSpc>
              <a:spcBef>
                <a:spcPts val="500"/>
              </a:spcBef>
              <a:buFont typeface="Arial" panose="020B0604020202020204" pitchFamily="34" charset="0"/>
              <a:buChar char="•"/>
              <a:defRPr sz="16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tx1"/>
                </a:solidFill>
              </a:rPr>
              <a:t>By: Giselle Dos Santos</a:t>
            </a:r>
          </a:p>
        </p:txBody>
      </p:sp>
    </p:spTree>
    <p:extLst>
      <p:ext uri="{BB962C8B-B14F-4D97-AF65-F5344CB8AC3E}">
        <p14:creationId xmlns:p14="http://schemas.microsoft.com/office/powerpoint/2010/main" val="3919299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graph showing a curve&#10;&#10;Description automatically generated with medium confidence">
            <a:extLst>
              <a:ext uri="{FF2B5EF4-FFF2-40B4-BE49-F238E27FC236}">
                <a16:creationId xmlns:a16="http://schemas.microsoft.com/office/drawing/2014/main" id="{0F07DF1E-3183-15DD-D744-E25E1DDF3428}"/>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685052" y="2112517"/>
            <a:ext cx="6003475" cy="3530889"/>
          </a:xfrm>
        </p:spPr>
      </p:pic>
      <p:sp>
        <p:nvSpPr>
          <p:cNvPr id="5" name="Subtitle 4">
            <a:extLst>
              <a:ext uri="{FF2B5EF4-FFF2-40B4-BE49-F238E27FC236}">
                <a16:creationId xmlns:a16="http://schemas.microsoft.com/office/drawing/2014/main" id="{917F6537-A374-B133-C74A-BDB00E3877F6}"/>
              </a:ext>
            </a:extLst>
          </p:cNvPr>
          <p:cNvSpPr>
            <a:spLocks noGrp="1"/>
          </p:cNvSpPr>
          <p:nvPr>
            <p:ph type="subTitle" idx="1"/>
          </p:nvPr>
        </p:nvSpPr>
        <p:spPr/>
        <p:txBody>
          <a:bodyPr/>
          <a:lstStyle/>
          <a:p>
            <a:r>
              <a:rPr lang="en-US" dirty="0"/>
              <a:t>CDF of seat counts per operation, showing cumulative probabilities</a:t>
            </a:r>
          </a:p>
        </p:txBody>
      </p:sp>
      <p:sp>
        <p:nvSpPr>
          <p:cNvPr id="6" name="Title 5">
            <a:extLst>
              <a:ext uri="{FF2B5EF4-FFF2-40B4-BE49-F238E27FC236}">
                <a16:creationId xmlns:a16="http://schemas.microsoft.com/office/drawing/2014/main" id="{8A7F25DE-67CB-4A5D-AD88-45CD44EC6BE4}"/>
              </a:ext>
            </a:extLst>
          </p:cNvPr>
          <p:cNvSpPr>
            <a:spLocks noGrp="1"/>
          </p:cNvSpPr>
          <p:nvPr>
            <p:ph type="title"/>
          </p:nvPr>
        </p:nvSpPr>
        <p:spPr/>
        <p:txBody>
          <a:bodyPr/>
          <a:lstStyle/>
          <a:p>
            <a:r>
              <a:rPr lang="en-US" dirty="0">
                <a:solidFill>
                  <a:srgbClr val="513777"/>
                </a:solidFill>
              </a:rPr>
              <a:t>CDF of Seats per Operation</a:t>
            </a:r>
          </a:p>
        </p:txBody>
      </p:sp>
      <p:sp>
        <p:nvSpPr>
          <p:cNvPr id="7" name="Content Placeholder 6">
            <a:extLst>
              <a:ext uri="{FF2B5EF4-FFF2-40B4-BE49-F238E27FC236}">
                <a16:creationId xmlns:a16="http://schemas.microsoft.com/office/drawing/2014/main" id="{FD44028D-592F-D611-8CBC-60628C4EC55C}"/>
              </a:ext>
            </a:extLst>
          </p:cNvPr>
          <p:cNvSpPr>
            <a:spLocks noGrp="1"/>
          </p:cNvSpPr>
          <p:nvPr>
            <p:ph sz="quarter" idx="15"/>
          </p:nvPr>
        </p:nvSpPr>
        <p:spPr>
          <a:xfrm>
            <a:off x="968375" y="2719098"/>
            <a:ext cx="4770000" cy="3530889"/>
          </a:xfrm>
        </p:spPr>
        <p:txBody>
          <a:bodyPr/>
          <a:lstStyle/>
          <a:p>
            <a:r>
              <a:rPr lang="en-US" dirty="0"/>
              <a:t>The CDF reveals cumulative probabilities for seat counts, indicating that a large proportion of flights have fewer than 200 seats. </a:t>
            </a:r>
          </a:p>
          <a:p>
            <a:endParaRPr lang="en-US" dirty="0"/>
          </a:p>
          <a:p>
            <a:r>
              <a:rPr lang="en-US" dirty="0"/>
              <a:t>The shape of the CDF also suggests clustering around certain seat levels, possibly due to airlines fleet capacities.</a:t>
            </a:r>
          </a:p>
        </p:txBody>
      </p:sp>
    </p:spTree>
    <p:extLst>
      <p:ext uri="{BB962C8B-B14F-4D97-AF65-F5344CB8AC3E}">
        <p14:creationId xmlns:p14="http://schemas.microsoft.com/office/powerpoint/2010/main" val="1354644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C5FB30A8-7917-EA56-BC68-0420E4706AB2}"/>
              </a:ext>
            </a:extLst>
          </p:cNvPr>
          <p:cNvSpPr>
            <a:spLocks noGrp="1"/>
          </p:cNvSpPr>
          <p:nvPr>
            <p:ph type="subTitle" idx="1"/>
          </p:nvPr>
        </p:nvSpPr>
        <p:spPr/>
        <p:txBody>
          <a:bodyPr/>
          <a:lstStyle/>
          <a:p>
            <a:r>
              <a:rPr lang="en-US" dirty="0"/>
              <a:t>The distribution shows multiple peaks and right skews</a:t>
            </a:r>
          </a:p>
        </p:txBody>
      </p:sp>
      <p:sp>
        <p:nvSpPr>
          <p:cNvPr id="6" name="Title 5">
            <a:extLst>
              <a:ext uri="{FF2B5EF4-FFF2-40B4-BE49-F238E27FC236}">
                <a16:creationId xmlns:a16="http://schemas.microsoft.com/office/drawing/2014/main" id="{84B05ED8-F1D1-1FC9-14AF-689CAE9C0E87}"/>
              </a:ext>
            </a:extLst>
          </p:cNvPr>
          <p:cNvSpPr>
            <a:spLocks noGrp="1"/>
          </p:cNvSpPr>
          <p:nvPr>
            <p:ph type="title"/>
          </p:nvPr>
        </p:nvSpPr>
        <p:spPr/>
        <p:txBody>
          <a:bodyPr/>
          <a:lstStyle/>
          <a:p>
            <a:r>
              <a:rPr lang="en-US" dirty="0">
                <a:solidFill>
                  <a:srgbClr val="513777"/>
                </a:solidFill>
              </a:rPr>
              <a:t>Seats per Operation - Fitted Normal Distribution</a:t>
            </a:r>
          </a:p>
        </p:txBody>
      </p:sp>
      <p:sp>
        <p:nvSpPr>
          <p:cNvPr id="7" name="Content Placeholder 6">
            <a:extLst>
              <a:ext uri="{FF2B5EF4-FFF2-40B4-BE49-F238E27FC236}">
                <a16:creationId xmlns:a16="http://schemas.microsoft.com/office/drawing/2014/main" id="{934E2E6B-7692-6E6F-A4EC-5394DA20C54E}"/>
              </a:ext>
            </a:extLst>
          </p:cNvPr>
          <p:cNvSpPr>
            <a:spLocks noGrp="1"/>
          </p:cNvSpPr>
          <p:nvPr>
            <p:ph sz="quarter" idx="15"/>
          </p:nvPr>
        </p:nvSpPr>
        <p:spPr>
          <a:xfrm>
            <a:off x="968375" y="2711454"/>
            <a:ext cx="4770000" cy="3538534"/>
          </a:xfrm>
        </p:spPr>
        <p:txBody>
          <a:bodyPr/>
          <a:lstStyle/>
          <a:p>
            <a:r>
              <a:rPr lang="en-US" dirty="0"/>
              <a:t>The observed data deviates significantly from a normal distribution, particularly with multiple peaks. </a:t>
            </a:r>
          </a:p>
          <a:p>
            <a:r>
              <a:rPr lang="en-US" dirty="0"/>
              <a:t>This pattern indicates a heterogeneous mix of operations, likely due to the use of different aircraft sizes for varied routes</a:t>
            </a:r>
          </a:p>
          <a:p>
            <a:r>
              <a:rPr lang="en-US" dirty="0"/>
              <a:t>High-capacity operations are likely the cause behind the normal fit being distorted</a:t>
            </a:r>
          </a:p>
        </p:txBody>
      </p:sp>
      <p:pic>
        <p:nvPicPr>
          <p:cNvPr id="10" name="Content Placeholder 9" descr="A graph with green and red lines&#10;&#10;Description automatically generated">
            <a:extLst>
              <a:ext uri="{FF2B5EF4-FFF2-40B4-BE49-F238E27FC236}">
                <a16:creationId xmlns:a16="http://schemas.microsoft.com/office/drawing/2014/main" id="{B137B477-52CD-6E93-7ED9-E58B7A180AD1}"/>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863602" y="2138284"/>
            <a:ext cx="5797766" cy="3428486"/>
          </a:xfrm>
        </p:spPr>
      </p:pic>
    </p:spTree>
    <p:extLst>
      <p:ext uri="{BB962C8B-B14F-4D97-AF65-F5344CB8AC3E}">
        <p14:creationId xmlns:p14="http://schemas.microsoft.com/office/powerpoint/2010/main" val="36952302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E54B4DF-A51D-76B0-3967-794974A90B39}"/>
              </a:ext>
            </a:extLst>
          </p:cNvPr>
          <p:cNvSpPr>
            <a:spLocks noGrp="1"/>
          </p:cNvSpPr>
          <p:nvPr>
            <p:ph type="subTitle" idx="1"/>
          </p:nvPr>
        </p:nvSpPr>
        <p:spPr/>
        <p:txBody>
          <a:bodyPr/>
          <a:lstStyle/>
          <a:p>
            <a:r>
              <a:rPr lang="en-US" dirty="0"/>
              <a:t>Relationship between DepCount and Seats per Operation</a:t>
            </a:r>
          </a:p>
        </p:txBody>
      </p:sp>
      <p:sp>
        <p:nvSpPr>
          <p:cNvPr id="6" name="Title 5">
            <a:extLst>
              <a:ext uri="{FF2B5EF4-FFF2-40B4-BE49-F238E27FC236}">
                <a16:creationId xmlns:a16="http://schemas.microsoft.com/office/drawing/2014/main" id="{FDE6E612-55DA-D8B4-FE22-3FF8F86ADB07}"/>
              </a:ext>
            </a:extLst>
          </p:cNvPr>
          <p:cNvSpPr>
            <a:spLocks noGrp="1"/>
          </p:cNvSpPr>
          <p:nvPr>
            <p:ph type="title"/>
          </p:nvPr>
        </p:nvSpPr>
        <p:spPr>
          <a:xfrm>
            <a:off x="968991" y="755176"/>
            <a:ext cx="10858020" cy="484188"/>
          </a:xfrm>
        </p:spPr>
        <p:txBody>
          <a:bodyPr/>
          <a:lstStyle/>
          <a:p>
            <a:r>
              <a:rPr lang="en-US" dirty="0">
                <a:solidFill>
                  <a:srgbClr val="513777"/>
                </a:solidFill>
              </a:rPr>
              <a:t>Scatter Plot: Departure Count vs Seats per Operation</a:t>
            </a:r>
          </a:p>
        </p:txBody>
      </p:sp>
      <p:sp>
        <p:nvSpPr>
          <p:cNvPr id="7" name="Content Placeholder 6">
            <a:extLst>
              <a:ext uri="{FF2B5EF4-FFF2-40B4-BE49-F238E27FC236}">
                <a16:creationId xmlns:a16="http://schemas.microsoft.com/office/drawing/2014/main" id="{2A86966E-64C1-3EB1-F465-EE1FACAD1DCB}"/>
              </a:ext>
            </a:extLst>
          </p:cNvPr>
          <p:cNvSpPr>
            <a:spLocks noGrp="1"/>
          </p:cNvSpPr>
          <p:nvPr>
            <p:ph sz="quarter" idx="15"/>
          </p:nvPr>
        </p:nvSpPr>
        <p:spPr>
          <a:xfrm>
            <a:off x="968375" y="2722922"/>
            <a:ext cx="4770000" cy="3527066"/>
          </a:xfrm>
        </p:spPr>
        <p:txBody>
          <a:bodyPr/>
          <a:lstStyle/>
          <a:p>
            <a:r>
              <a:rPr lang="en-US" dirty="0"/>
              <a:t>The scatter plot shows little to no strong correlation between departure count and seats per operation, as indicated by the low Pearson correlation. </a:t>
            </a:r>
          </a:p>
          <a:p>
            <a:r>
              <a:rPr lang="en-US" dirty="0"/>
              <a:t>This suggests that route frequency doesn’t necessarily correlate with higher seating capacity</a:t>
            </a:r>
          </a:p>
        </p:txBody>
      </p:sp>
      <p:pic>
        <p:nvPicPr>
          <p:cNvPr id="10" name="Content Placeholder 9" descr="A graph with blue dots&#10;&#10;Description automatically generated">
            <a:extLst>
              <a:ext uri="{FF2B5EF4-FFF2-40B4-BE49-F238E27FC236}">
                <a16:creationId xmlns:a16="http://schemas.microsoft.com/office/drawing/2014/main" id="{DBF4BA14-4B42-13BA-FEA7-352954805B90}"/>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813651" y="2163778"/>
            <a:ext cx="6013360" cy="3527066"/>
          </a:xfrm>
        </p:spPr>
      </p:pic>
    </p:spTree>
    <p:extLst>
      <p:ext uri="{BB962C8B-B14F-4D97-AF65-F5344CB8AC3E}">
        <p14:creationId xmlns:p14="http://schemas.microsoft.com/office/powerpoint/2010/main" val="1594232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5811E75-55E2-ECA9-3167-BC4CBE661B47}"/>
              </a:ext>
            </a:extLst>
          </p:cNvPr>
          <p:cNvSpPr>
            <a:spLocks noGrp="1"/>
          </p:cNvSpPr>
          <p:nvPr>
            <p:ph type="subTitle" idx="1"/>
          </p:nvPr>
        </p:nvSpPr>
        <p:spPr/>
        <p:txBody>
          <a:bodyPr/>
          <a:lstStyle/>
          <a:p>
            <a:r>
              <a:rPr lang="en-US" dirty="0"/>
              <a:t>Relationship between Distance (km) and Seats per Operation</a:t>
            </a:r>
          </a:p>
        </p:txBody>
      </p:sp>
      <p:sp>
        <p:nvSpPr>
          <p:cNvPr id="6" name="Title 5">
            <a:extLst>
              <a:ext uri="{FF2B5EF4-FFF2-40B4-BE49-F238E27FC236}">
                <a16:creationId xmlns:a16="http://schemas.microsoft.com/office/drawing/2014/main" id="{CE12DA82-D21A-4958-31B4-E12A5239EA6C}"/>
              </a:ext>
            </a:extLst>
          </p:cNvPr>
          <p:cNvSpPr>
            <a:spLocks noGrp="1"/>
          </p:cNvSpPr>
          <p:nvPr>
            <p:ph type="title"/>
          </p:nvPr>
        </p:nvSpPr>
        <p:spPr/>
        <p:txBody>
          <a:bodyPr/>
          <a:lstStyle/>
          <a:p>
            <a:r>
              <a:rPr lang="en-US" dirty="0">
                <a:solidFill>
                  <a:srgbClr val="513777"/>
                </a:solidFill>
              </a:rPr>
              <a:t>Scatter Plot: Distance vs Seats per Operation</a:t>
            </a:r>
          </a:p>
        </p:txBody>
      </p:sp>
      <p:sp>
        <p:nvSpPr>
          <p:cNvPr id="7" name="Content Placeholder 6">
            <a:extLst>
              <a:ext uri="{FF2B5EF4-FFF2-40B4-BE49-F238E27FC236}">
                <a16:creationId xmlns:a16="http://schemas.microsoft.com/office/drawing/2014/main" id="{39C849AD-D695-03FE-949C-CBBA452FF9AD}"/>
              </a:ext>
            </a:extLst>
          </p:cNvPr>
          <p:cNvSpPr>
            <a:spLocks noGrp="1"/>
          </p:cNvSpPr>
          <p:nvPr>
            <p:ph sz="quarter" idx="15"/>
          </p:nvPr>
        </p:nvSpPr>
        <p:spPr>
          <a:xfrm>
            <a:off x="968375" y="2703808"/>
            <a:ext cx="4770000" cy="3546179"/>
          </a:xfrm>
        </p:spPr>
        <p:txBody>
          <a:bodyPr/>
          <a:lstStyle/>
          <a:p>
            <a:r>
              <a:rPr lang="en-US" dirty="0"/>
              <a:t>There appears to be some clustering for flights under 1000 km with lower seat counts. </a:t>
            </a:r>
          </a:p>
          <a:p>
            <a:r>
              <a:rPr lang="en-US" dirty="0"/>
              <a:t>The weak correlation indicates that many shorter flights operate with high seating capacities, most likely due to high-demand short-haul routes</a:t>
            </a:r>
          </a:p>
        </p:txBody>
      </p:sp>
      <p:pic>
        <p:nvPicPr>
          <p:cNvPr id="10" name="Content Placeholder 9" descr="A chart with blue dots&#10;&#10;Description automatically generated">
            <a:extLst>
              <a:ext uri="{FF2B5EF4-FFF2-40B4-BE49-F238E27FC236}">
                <a16:creationId xmlns:a16="http://schemas.microsoft.com/office/drawing/2014/main" id="{877B3022-0C3F-19E1-3ABB-BD5FB9DD9668}"/>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738375" y="2095795"/>
            <a:ext cx="6129165" cy="3644102"/>
          </a:xfrm>
        </p:spPr>
      </p:pic>
    </p:spTree>
    <p:extLst>
      <p:ext uri="{BB962C8B-B14F-4D97-AF65-F5344CB8AC3E}">
        <p14:creationId xmlns:p14="http://schemas.microsoft.com/office/powerpoint/2010/main" val="24921393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D9C22255-B73D-EC89-4397-8348299C1905}"/>
              </a:ext>
            </a:extLst>
          </p:cNvPr>
          <p:cNvSpPr>
            <a:spLocks noGrp="1"/>
          </p:cNvSpPr>
          <p:nvPr>
            <p:ph type="subTitle" idx="1"/>
          </p:nvPr>
        </p:nvSpPr>
        <p:spPr/>
        <p:txBody>
          <a:bodyPr/>
          <a:lstStyle/>
          <a:p>
            <a:r>
              <a:rPr lang="en-US" dirty="0"/>
              <a:t>T-test on mean seats for high vs. low departure operations</a:t>
            </a:r>
          </a:p>
        </p:txBody>
      </p:sp>
      <p:sp>
        <p:nvSpPr>
          <p:cNvPr id="6" name="Title 5">
            <a:extLst>
              <a:ext uri="{FF2B5EF4-FFF2-40B4-BE49-F238E27FC236}">
                <a16:creationId xmlns:a16="http://schemas.microsoft.com/office/drawing/2014/main" id="{A2FAAC6C-87F9-EBE3-B4CD-432691B085B8}"/>
              </a:ext>
            </a:extLst>
          </p:cNvPr>
          <p:cNvSpPr>
            <a:spLocks noGrp="1"/>
          </p:cNvSpPr>
          <p:nvPr>
            <p:ph type="title"/>
          </p:nvPr>
        </p:nvSpPr>
        <p:spPr/>
        <p:txBody>
          <a:bodyPr/>
          <a:lstStyle/>
          <a:p>
            <a:r>
              <a:rPr lang="en-US" dirty="0">
                <a:solidFill>
                  <a:srgbClr val="513777"/>
                </a:solidFill>
              </a:rPr>
              <a:t>Hypothesis Test on Seats per Operation</a:t>
            </a:r>
          </a:p>
        </p:txBody>
      </p:sp>
      <p:sp>
        <p:nvSpPr>
          <p:cNvPr id="7" name="Content Placeholder 6">
            <a:extLst>
              <a:ext uri="{FF2B5EF4-FFF2-40B4-BE49-F238E27FC236}">
                <a16:creationId xmlns:a16="http://schemas.microsoft.com/office/drawing/2014/main" id="{1B416393-E8E2-EBCF-5EC6-393D2F47D98A}"/>
              </a:ext>
            </a:extLst>
          </p:cNvPr>
          <p:cNvSpPr>
            <a:spLocks noGrp="1"/>
          </p:cNvSpPr>
          <p:nvPr>
            <p:ph sz="quarter" idx="15"/>
          </p:nvPr>
        </p:nvSpPr>
        <p:spPr>
          <a:xfrm>
            <a:off x="968375" y="1994540"/>
            <a:ext cx="4770000" cy="4255448"/>
          </a:xfrm>
        </p:spPr>
        <p:txBody>
          <a:bodyPr>
            <a:normAutofit/>
          </a:bodyPr>
          <a:lstStyle/>
          <a:p>
            <a:pPr marR="0" lvl="0">
              <a:lnSpc>
                <a:spcPct val="115000"/>
              </a:lnSpc>
              <a:spcBef>
                <a:spcPts val="0"/>
              </a:spcBef>
              <a:spcAft>
                <a:spcPts val="0"/>
              </a:spcAft>
            </a:pPr>
            <a:r>
              <a:rPr lang="en-US" sz="1200" b="1" kern="100" dirty="0">
                <a:effectLst/>
                <a:ea typeface="Aptos" panose="020B0004020202020204" pitchFamily="34" charset="0"/>
                <a:cs typeface="Times New Roman" panose="02020603050405020304" pitchFamily="18" charset="0"/>
              </a:rPr>
              <a:t>Research Hypothesis:</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Null Hypothesi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mean number of seats per operation is the same for flights with high and low departure counts</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Alternative Hypothesi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mean number of seats per operation differ significantly between flights with high and low departure counts</a:t>
            </a:r>
          </a:p>
          <a:p>
            <a:pPr marR="0" lvl="0">
              <a:lnSpc>
                <a:spcPct val="115000"/>
              </a:lnSpc>
              <a:spcBef>
                <a:spcPts val="0"/>
              </a:spcBef>
              <a:spcAft>
                <a:spcPts val="0"/>
              </a:spcAft>
            </a:pPr>
            <a:endParaRPr lang="en-US" sz="1200" kern="100" dirty="0">
              <a:effectLst/>
              <a:ea typeface="Aptos" panose="020B0004020202020204" pitchFamily="34" charset="0"/>
              <a:cs typeface="Times New Roman" panose="02020603050405020304" pitchFamily="18" charset="0"/>
            </a:endParaRPr>
          </a:p>
          <a:p>
            <a:pPr marR="0" lvl="0">
              <a:lnSpc>
                <a:spcPct val="115000"/>
              </a:lnSpc>
              <a:spcBef>
                <a:spcPts val="0"/>
              </a:spcBef>
              <a:spcAft>
                <a:spcPts val="0"/>
              </a:spcAft>
            </a:pPr>
            <a:r>
              <a:rPr lang="en-US" sz="1200" b="1" kern="100" dirty="0">
                <a:effectLst/>
                <a:ea typeface="Aptos" panose="020B0004020202020204" pitchFamily="34" charset="0"/>
                <a:cs typeface="Times New Roman" panose="02020603050405020304" pitchFamily="18" charset="0"/>
              </a:rPr>
              <a:t>Methodology:</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Grouping:</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Flights were divided </a:t>
            </a:r>
            <a:r>
              <a:rPr lang="en-US" sz="1200" kern="100" dirty="0">
                <a:ea typeface="Aptos" panose="020B0004020202020204" pitchFamily="34" charset="0"/>
                <a:cs typeface="Times New Roman" panose="02020603050405020304" pitchFamily="18" charset="0"/>
              </a:rPr>
              <a:t>by high (&gt; median) and low (&lt;/= Median) departure counts</a:t>
            </a: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Test Type:</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mean seats per operation for the two groups was compared using a two-sample independent t-test</a:t>
            </a:r>
          </a:p>
        </p:txBody>
      </p:sp>
      <p:sp>
        <p:nvSpPr>
          <p:cNvPr id="8" name="Content Placeholder 7">
            <a:extLst>
              <a:ext uri="{FF2B5EF4-FFF2-40B4-BE49-F238E27FC236}">
                <a16:creationId xmlns:a16="http://schemas.microsoft.com/office/drawing/2014/main" id="{0DDE1FE6-7669-8E64-BFEB-D2C245575379}"/>
              </a:ext>
            </a:extLst>
          </p:cNvPr>
          <p:cNvSpPr>
            <a:spLocks noGrp="1"/>
          </p:cNvSpPr>
          <p:nvPr>
            <p:ph sz="quarter" idx="22"/>
          </p:nvPr>
        </p:nvSpPr>
        <p:spPr/>
        <p:txBody>
          <a:bodyPr>
            <a:normAutofit/>
          </a:bodyPr>
          <a:lstStyle/>
          <a:p>
            <a:pPr marR="0" lvl="0">
              <a:lnSpc>
                <a:spcPct val="115000"/>
              </a:lnSpc>
              <a:spcBef>
                <a:spcPts val="0"/>
              </a:spcBef>
              <a:spcAft>
                <a:spcPts val="0"/>
              </a:spcAft>
            </a:pPr>
            <a:r>
              <a:rPr lang="en-US" sz="1200" b="1" kern="100" dirty="0">
                <a:effectLst/>
                <a:ea typeface="Aptos" panose="020B0004020202020204" pitchFamily="34" charset="0"/>
                <a:cs typeface="Times New Roman" panose="02020603050405020304" pitchFamily="18" charset="0"/>
              </a:rPr>
              <a:t>Results:</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T-Statistics: -10.84</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P-Value: 2.62 x 10^-27</a:t>
            </a:r>
          </a:p>
          <a:p>
            <a:pPr marL="342900" marR="0" lvl="0" indent="-342900">
              <a:lnSpc>
                <a:spcPct val="115000"/>
              </a:lnSpc>
              <a:spcBef>
                <a:spcPts val="0"/>
              </a:spcBef>
              <a:spcAft>
                <a:spcPts val="0"/>
              </a:spcAft>
              <a:buFont typeface="Symbol" panose="05050102010706020507" pitchFamily="18" charset="2"/>
              <a:buChar char=""/>
            </a:pPr>
            <a:r>
              <a:rPr lang="en-US" sz="1200" kern="100" dirty="0">
                <a:ea typeface="Aptos" panose="020B0004020202020204" pitchFamily="34" charset="0"/>
                <a:cs typeface="Times New Roman" panose="02020603050405020304" pitchFamily="18" charset="0"/>
              </a:rPr>
              <a:t>Decision:</a:t>
            </a:r>
          </a:p>
          <a:p>
            <a:pPr marL="512763" lvl="1" indent="-342900">
              <a:lnSpc>
                <a:spcPct val="115000"/>
              </a:lnSpc>
              <a:spcBef>
                <a:spcPts val="0"/>
              </a:spcBef>
              <a:buFont typeface="Symbol" panose="05050102010706020507" pitchFamily="18" charset="2"/>
              <a:buChar char=""/>
            </a:pPr>
            <a:r>
              <a:rPr lang="en-US" sz="1000" kern="100" dirty="0">
                <a:ea typeface="Aptos" panose="020B0004020202020204" pitchFamily="34" charset="0"/>
                <a:cs typeface="Times New Roman" panose="02020603050405020304" pitchFamily="18" charset="0"/>
              </a:rPr>
              <a:t>The P-Value is far below the significant level of 0.05, so the null hypothesis is rejected</a:t>
            </a:r>
            <a:endParaRPr lang="en-US" sz="1000" kern="100" dirty="0">
              <a:effectLst/>
              <a:ea typeface="Aptos" panose="020B0004020202020204" pitchFamily="34" charset="0"/>
              <a:cs typeface="Times New Roman" panose="02020603050405020304" pitchFamily="18" charset="0"/>
            </a:endParaRPr>
          </a:p>
          <a:p>
            <a:pPr marR="0" lvl="0">
              <a:lnSpc>
                <a:spcPct val="115000"/>
              </a:lnSpc>
              <a:spcBef>
                <a:spcPts val="0"/>
              </a:spcBef>
              <a:spcAft>
                <a:spcPts val="0"/>
              </a:spcAft>
            </a:pPr>
            <a:endParaRPr lang="en-US" sz="1200" kern="100" dirty="0">
              <a:effectLst/>
              <a:ea typeface="Aptos" panose="020B0004020202020204" pitchFamily="34" charset="0"/>
              <a:cs typeface="Times New Roman" panose="02020603050405020304" pitchFamily="18" charset="0"/>
            </a:endParaRPr>
          </a:p>
          <a:p>
            <a:pPr marR="0" lvl="0">
              <a:lnSpc>
                <a:spcPct val="115000"/>
              </a:lnSpc>
              <a:spcBef>
                <a:spcPts val="0"/>
              </a:spcBef>
              <a:spcAft>
                <a:spcPts val="0"/>
              </a:spcAft>
            </a:pPr>
            <a:r>
              <a:rPr lang="en-US" sz="1200" b="1" kern="100" dirty="0">
                <a:effectLst/>
                <a:ea typeface="Aptos" panose="020B0004020202020204" pitchFamily="34" charset="0"/>
                <a:cs typeface="Times New Roman" panose="02020603050405020304" pitchFamily="18" charset="0"/>
              </a:rPr>
              <a:t>Interpretation of Results:</a:t>
            </a: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The results show that seat allocation strategies differ depending on departure frequencies. </a:t>
            </a:r>
          </a:p>
          <a:p>
            <a:endParaRPr lang="en-US" dirty="0"/>
          </a:p>
        </p:txBody>
      </p:sp>
    </p:spTree>
    <p:extLst>
      <p:ext uri="{BB962C8B-B14F-4D97-AF65-F5344CB8AC3E}">
        <p14:creationId xmlns:p14="http://schemas.microsoft.com/office/powerpoint/2010/main" val="2032932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DF15AEB9-AC0C-3645-2ECA-C387FF2213C7}"/>
              </a:ext>
            </a:extLst>
          </p:cNvPr>
          <p:cNvSpPr>
            <a:spLocks noGrp="1"/>
          </p:cNvSpPr>
          <p:nvPr>
            <p:ph type="subTitle" idx="1"/>
          </p:nvPr>
        </p:nvSpPr>
        <p:spPr>
          <a:xfrm>
            <a:off x="968991" y="1407911"/>
            <a:ext cx="10264581" cy="332399"/>
          </a:xfrm>
        </p:spPr>
        <p:txBody>
          <a:bodyPr/>
          <a:lstStyle/>
          <a:p>
            <a:r>
              <a:rPr lang="en-US" dirty="0"/>
              <a:t>Can the Departure Count predict the Seats per Operation?</a:t>
            </a:r>
          </a:p>
        </p:txBody>
      </p:sp>
      <p:sp>
        <p:nvSpPr>
          <p:cNvPr id="6" name="Title 5">
            <a:extLst>
              <a:ext uri="{FF2B5EF4-FFF2-40B4-BE49-F238E27FC236}">
                <a16:creationId xmlns:a16="http://schemas.microsoft.com/office/drawing/2014/main" id="{38F05AD4-778E-F00B-FE5D-3B182BF2FB2E}"/>
              </a:ext>
            </a:extLst>
          </p:cNvPr>
          <p:cNvSpPr>
            <a:spLocks noGrp="1"/>
          </p:cNvSpPr>
          <p:nvPr>
            <p:ph type="title"/>
          </p:nvPr>
        </p:nvSpPr>
        <p:spPr>
          <a:xfrm>
            <a:off x="446772" y="743316"/>
            <a:ext cx="11298455" cy="484188"/>
          </a:xfrm>
        </p:spPr>
        <p:txBody>
          <a:bodyPr/>
          <a:lstStyle/>
          <a:p>
            <a:r>
              <a:rPr lang="en-US" dirty="0">
                <a:solidFill>
                  <a:srgbClr val="513777"/>
                </a:solidFill>
              </a:rPr>
              <a:t>Regression Analysis of DepCount and Seats per Operation</a:t>
            </a:r>
          </a:p>
        </p:txBody>
      </p:sp>
      <p:sp>
        <p:nvSpPr>
          <p:cNvPr id="7" name="Content Placeholder 6">
            <a:extLst>
              <a:ext uri="{FF2B5EF4-FFF2-40B4-BE49-F238E27FC236}">
                <a16:creationId xmlns:a16="http://schemas.microsoft.com/office/drawing/2014/main" id="{A419B003-14B3-F93D-E9D5-0EF0ED8CE365}"/>
              </a:ext>
            </a:extLst>
          </p:cNvPr>
          <p:cNvSpPr>
            <a:spLocks noGrp="1"/>
          </p:cNvSpPr>
          <p:nvPr>
            <p:ph sz="quarter" idx="15"/>
          </p:nvPr>
        </p:nvSpPr>
        <p:spPr>
          <a:xfrm>
            <a:off x="968991" y="3087232"/>
            <a:ext cx="4770000" cy="2362857"/>
          </a:xfrm>
        </p:spPr>
        <p:txBody>
          <a:bodyPr>
            <a:normAutofit/>
          </a:bodyPr>
          <a:lstStyle/>
          <a:p>
            <a:r>
              <a:rPr lang="en-US" dirty="0"/>
              <a:t>The low R-squared value in the regression analysis suggests that departure count alone is not a good predictor of seats per operation. </a:t>
            </a:r>
          </a:p>
          <a:p>
            <a:endParaRPr lang="en-US" dirty="0"/>
          </a:p>
          <a:p>
            <a:r>
              <a:rPr lang="en-US" dirty="0"/>
              <a:t>Other factors such as distance or market demand may better explain seat allocation</a:t>
            </a:r>
          </a:p>
        </p:txBody>
      </p:sp>
      <p:pic>
        <p:nvPicPr>
          <p:cNvPr id="10" name="Content Placeholder 9" descr="A screenshot of a computer&#10;&#10;Description automatically generated">
            <a:extLst>
              <a:ext uri="{FF2B5EF4-FFF2-40B4-BE49-F238E27FC236}">
                <a16:creationId xmlns:a16="http://schemas.microsoft.com/office/drawing/2014/main" id="{088885EE-D026-E21A-135F-603B56DF71F3}"/>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931262" y="2248696"/>
            <a:ext cx="6000940" cy="3865988"/>
          </a:xfrm>
        </p:spPr>
      </p:pic>
    </p:spTree>
    <p:extLst>
      <p:ext uri="{BB962C8B-B14F-4D97-AF65-F5344CB8AC3E}">
        <p14:creationId xmlns:p14="http://schemas.microsoft.com/office/powerpoint/2010/main" val="3410546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9A1A1460-1F72-6044-12E9-C07C0282E256}"/>
              </a:ext>
            </a:extLst>
          </p:cNvPr>
          <p:cNvSpPr>
            <a:spLocks noGrp="1"/>
          </p:cNvSpPr>
          <p:nvPr>
            <p:ph type="pic" sz="quarter" idx="32"/>
          </p:nvPr>
        </p:nvSpPr>
        <p:spPr>
          <a:xfrm>
            <a:off x="5198270" y="5275336"/>
            <a:ext cx="1795460" cy="287696"/>
          </a:xfrm>
        </p:spPr>
        <p:txBody>
          <a:bodyPr/>
          <a:lstStyle/>
          <a:p>
            <a:pPr algn="ctr"/>
            <a:r>
              <a:rPr lang="en-US" b="1" dirty="0">
                <a:solidFill>
                  <a:srgbClr val="513777"/>
                </a:solidFill>
              </a:rPr>
              <a:t>THANK  YOU </a:t>
            </a:r>
          </a:p>
        </p:txBody>
      </p:sp>
      <p:pic>
        <p:nvPicPr>
          <p:cNvPr id="2050" name="Picture 2" descr="Bellevue University - Best Choice Schools">
            <a:extLst>
              <a:ext uri="{FF2B5EF4-FFF2-40B4-BE49-F238E27FC236}">
                <a16:creationId xmlns:a16="http://schemas.microsoft.com/office/drawing/2014/main" id="{48E86430-69E4-0008-FC0F-4CAF1AE2AE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61307" y="3232086"/>
            <a:ext cx="2000396" cy="381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070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4E1A71E4-8AC2-4FCF-CDBA-BDDBFFD6CF7F}"/>
              </a:ext>
            </a:extLst>
          </p:cNvPr>
          <p:cNvSpPr>
            <a:spLocks noGrp="1"/>
          </p:cNvSpPr>
          <p:nvPr>
            <p:ph type="subTitle" idx="1"/>
            <p:custDataLst>
              <p:tags r:id="rId1"/>
            </p:custDataLst>
          </p:nvPr>
        </p:nvSpPr>
        <p:spPr/>
        <p:txBody>
          <a:bodyPr/>
          <a:lstStyle/>
          <a:p>
            <a:r>
              <a:rPr lang="en-US" dirty="0"/>
              <a:t>Exploring Seat capacity and operational patterns</a:t>
            </a:r>
          </a:p>
        </p:txBody>
      </p:sp>
      <p:sp>
        <p:nvSpPr>
          <p:cNvPr id="2" name="Title 1"/>
          <p:cNvSpPr>
            <a:spLocks noGrp="1"/>
          </p:cNvSpPr>
          <p:nvPr>
            <p:ph type="title"/>
            <p:custDataLst>
              <p:tags r:id="rId2"/>
            </p:custDataLst>
          </p:nvPr>
        </p:nvSpPr>
        <p:spPr/>
        <p:txBody>
          <a:bodyPr/>
          <a:lstStyle/>
          <a:p>
            <a:r>
              <a:rPr lang="en-US" dirty="0">
                <a:solidFill>
                  <a:srgbClr val="513777"/>
                </a:solidFill>
              </a:rPr>
              <a:t>Analysis of the Canadian Aviation Market</a:t>
            </a:r>
            <a:endParaRPr dirty="0">
              <a:solidFill>
                <a:srgbClr val="513777"/>
              </a:solidFill>
            </a:endParaRPr>
          </a:p>
        </p:txBody>
      </p:sp>
      <p:sp>
        <p:nvSpPr>
          <p:cNvPr id="3" name="Content Placeholder 2"/>
          <p:cNvSpPr>
            <a:spLocks noGrp="1"/>
          </p:cNvSpPr>
          <p:nvPr>
            <p:ph sz="quarter" idx="15"/>
            <p:custDataLst>
              <p:tags r:id="rId3"/>
            </p:custDataLst>
          </p:nvPr>
        </p:nvSpPr>
        <p:spPr/>
        <p:txBody>
          <a:bodyPr>
            <a:normAutofit fontScale="77500" lnSpcReduction="20000"/>
          </a:bodyPr>
          <a:lstStyle/>
          <a:p>
            <a:r>
              <a:rPr lang="en-US" dirty="0"/>
              <a:t>Objectives:</a:t>
            </a:r>
          </a:p>
          <a:p>
            <a:pPr marL="285750" indent="-285750">
              <a:buFont typeface="Arial" panose="020B0604020202020204" pitchFamily="34" charset="0"/>
              <a:buChar char="•"/>
            </a:pPr>
            <a:r>
              <a:rPr lang="en-US" dirty="0"/>
              <a:t>To analyze the distribution of seat capacity across various operations in the Canadian Market</a:t>
            </a:r>
          </a:p>
          <a:p>
            <a:pPr marL="285750" indent="-285750">
              <a:buFont typeface="Arial" panose="020B0604020202020204" pitchFamily="34" charset="0"/>
              <a:buChar char="•"/>
            </a:pPr>
            <a:r>
              <a:rPr lang="en-US" dirty="0"/>
              <a:t>To explore how different factors impact seat allocation and operational efficiency</a:t>
            </a:r>
          </a:p>
          <a:p>
            <a:endParaRPr lang="en-US" dirty="0"/>
          </a:p>
          <a:p>
            <a:pPr algn="ctr"/>
            <a:r>
              <a:rPr lang="en-US" b="1" u="sng" dirty="0"/>
              <a:t>Key Variables:</a:t>
            </a:r>
          </a:p>
          <a:p>
            <a:pPr algn="ctr"/>
            <a:r>
              <a:rPr lang="en-US" dirty="0"/>
              <a:t>Month</a:t>
            </a:r>
          </a:p>
          <a:p>
            <a:pPr algn="ctr"/>
            <a:r>
              <a:rPr lang="en-US" dirty="0"/>
              <a:t>Operational Airline Capacity</a:t>
            </a:r>
          </a:p>
          <a:p>
            <a:pPr algn="ctr"/>
            <a:r>
              <a:rPr lang="en-US" dirty="0"/>
              <a:t>Departure Count</a:t>
            </a:r>
          </a:p>
          <a:p>
            <a:pPr algn="ctr"/>
            <a:r>
              <a:rPr lang="en-US" dirty="0"/>
              <a:t>Distance</a:t>
            </a:r>
          </a:p>
          <a:p>
            <a:pPr algn="ctr"/>
            <a:r>
              <a:rPr lang="en-US" dirty="0"/>
              <a:t>Seats per Operation</a:t>
            </a:r>
            <a:endParaRPr dirty="0"/>
          </a:p>
        </p:txBody>
      </p:sp>
      <p:sp>
        <p:nvSpPr>
          <p:cNvPr id="8" name="Content Placeholder 7">
            <a:extLst>
              <a:ext uri="{FF2B5EF4-FFF2-40B4-BE49-F238E27FC236}">
                <a16:creationId xmlns:a16="http://schemas.microsoft.com/office/drawing/2014/main" id="{A6CCC064-10E3-6525-6D01-E891A8A06659}"/>
              </a:ext>
            </a:extLst>
          </p:cNvPr>
          <p:cNvSpPr>
            <a:spLocks noGrp="1"/>
          </p:cNvSpPr>
          <p:nvPr>
            <p:ph sz="quarter" idx="22"/>
            <p:custDataLst>
              <p:tags r:id="rId4"/>
            </p:custDataLst>
          </p:nvPr>
        </p:nvSpPr>
        <p:spPr>
          <a:xfrm>
            <a:off x="5375275" y="2055138"/>
            <a:ext cx="5854700" cy="4194850"/>
          </a:xfrm>
        </p:spPr>
        <p:txBody>
          <a:bodyPr>
            <a:normAutofit lnSpcReduction="10000"/>
          </a:bodyPr>
          <a:lstStyle/>
          <a:p>
            <a:r>
              <a:rPr lang="en-US" dirty="0"/>
              <a:t>Research Questions:</a:t>
            </a:r>
          </a:p>
          <a:p>
            <a:pPr marL="285750" indent="-285750">
              <a:buFont typeface="Arial" panose="020B0604020202020204" pitchFamily="34" charset="0"/>
              <a:buChar char="•"/>
            </a:pPr>
            <a:r>
              <a:rPr lang="en-US" dirty="0"/>
              <a:t>How do various operational factors, such as departure frequency, flight distance, and airline capacity, influence seat allocation patterns in the Canadian Aviation Market, and what insights can be drawn to improve resource planning and operational efficiency?</a:t>
            </a:r>
          </a:p>
          <a:p>
            <a:r>
              <a:rPr lang="en-US" dirty="0"/>
              <a:t>Analysis Goal:</a:t>
            </a:r>
          </a:p>
          <a:p>
            <a:pPr marL="285750" indent="-285750">
              <a:buFont typeface="Arial" panose="020B0604020202020204" pitchFamily="34" charset="0"/>
              <a:buChar char="•"/>
            </a:pPr>
            <a:r>
              <a:rPr lang="en-US" dirty="0"/>
              <a:t>This question is essential to understanding operational efficiencies and capacity planning within the aviation sector. By answering it, I aim to provide insights that could support strategic decisions regarding fleet management, route planning, and demand forecasting</a:t>
            </a:r>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045E9F15-16C7-DE01-0457-47A2FD4306F9}"/>
              </a:ext>
            </a:extLst>
          </p:cNvPr>
          <p:cNvSpPr>
            <a:spLocks noGrp="1"/>
          </p:cNvSpPr>
          <p:nvPr>
            <p:ph type="subTitle" idx="1"/>
          </p:nvPr>
        </p:nvSpPr>
        <p:spPr>
          <a:xfrm>
            <a:off x="968991" y="1299275"/>
            <a:ext cx="10264581" cy="332399"/>
          </a:xfrm>
        </p:spPr>
        <p:txBody>
          <a:bodyPr/>
          <a:lstStyle/>
          <a:p>
            <a:r>
              <a:rPr lang="en-US" dirty="0"/>
              <a:t>Source: SABRE Market Intelligence – Canada Schedules</a:t>
            </a:r>
          </a:p>
        </p:txBody>
      </p:sp>
      <p:sp>
        <p:nvSpPr>
          <p:cNvPr id="2" name="Title 1"/>
          <p:cNvSpPr>
            <a:spLocks noGrp="1"/>
          </p:cNvSpPr>
          <p:nvPr>
            <p:ph type="title"/>
          </p:nvPr>
        </p:nvSpPr>
        <p:spPr/>
        <p:txBody>
          <a:bodyPr/>
          <a:lstStyle/>
          <a:p>
            <a:r>
              <a:rPr lang="en-US" dirty="0">
                <a:solidFill>
                  <a:srgbClr val="513777"/>
                </a:solidFill>
              </a:rPr>
              <a:t>Dataset Overview and Key Variables</a:t>
            </a:r>
            <a:endParaRPr dirty="0">
              <a:solidFill>
                <a:srgbClr val="513777"/>
              </a:solidFill>
            </a:endParaRPr>
          </a:p>
        </p:txBody>
      </p:sp>
      <p:sp>
        <p:nvSpPr>
          <p:cNvPr id="3" name="Content Placeholder 2"/>
          <p:cNvSpPr>
            <a:spLocks noGrp="1"/>
          </p:cNvSpPr>
          <p:nvPr>
            <p:ph sz="quarter" idx="15"/>
          </p:nvPr>
        </p:nvSpPr>
        <p:spPr/>
        <p:txBody>
          <a:bodyPr>
            <a:normAutofit lnSpcReduction="10000"/>
          </a:bodyPr>
          <a:lstStyle/>
          <a:p>
            <a:r>
              <a:rPr lang="en-US" dirty="0"/>
              <a:t>Key Variables:</a:t>
            </a:r>
          </a:p>
          <a:p>
            <a:pPr marL="285750" indent="-285750">
              <a:buFont typeface="Arial" panose="020B0604020202020204" pitchFamily="34" charset="0"/>
              <a:buChar char="•"/>
            </a:pPr>
            <a:r>
              <a:rPr dirty="0"/>
              <a:t>Month: Captures seasonality in flight demand.</a:t>
            </a:r>
          </a:p>
          <a:p>
            <a:pPr marL="285750" indent="-285750">
              <a:buFont typeface="Arial" panose="020B0604020202020204" pitchFamily="34" charset="0"/>
              <a:buChar char="•"/>
            </a:pPr>
            <a:r>
              <a:rPr dirty="0"/>
              <a:t>Operating Airline Capacity: Measures total seats allocated per flight.</a:t>
            </a:r>
          </a:p>
          <a:p>
            <a:pPr marL="285750" indent="-285750">
              <a:buFont typeface="Arial" panose="020B0604020202020204" pitchFamily="34" charset="0"/>
              <a:buChar char="•"/>
            </a:pPr>
            <a:r>
              <a:rPr lang="en-US"/>
              <a:t>Departure Count (</a:t>
            </a:r>
            <a:r>
              <a:t>DepCount</a:t>
            </a:r>
            <a:r>
              <a:rPr lang="en-US"/>
              <a:t>)</a:t>
            </a:r>
            <a:r>
              <a:t>: </a:t>
            </a:r>
            <a:r>
              <a:rPr dirty="0"/>
              <a:t>Represents the frequency of flights.</a:t>
            </a:r>
          </a:p>
          <a:p>
            <a:pPr marL="285750" indent="-285750">
              <a:buFont typeface="Arial" panose="020B0604020202020204" pitchFamily="34" charset="0"/>
              <a:buChar char="•"/>
            </a:pPr>
            <a:r>
              <a:rPr dirty="0"/>
              <a:t>Distance (km): Denotes route length, potentially influencing seat allocation.</a:t>
            </a:r>
          </a:p>
          <a:p>
            <a:pPr marL="285750" indent="-285750">
              <a:buFont typeface="Arial" panose="020B0604020202020204" pitchFamily="34" charset="0"/>
              <a:buChar char="•"/>
            </a:pPr>
            <a:r>
              <a:rPr dirty="0"/>
              <a:t>Seats per Operation: Average seats per flight, indicating capacity utilization.</a:t>
            </a:r>
          </a:p>
          <a:p>
            <a:pPr marL="0" indent="0">
              <a:buNone/>
            </a:pPr>
            <a:endParaRPr dirty="0"/>
          </a:p>
        </p:txBody>
      </p:sp>
      <p:sp>
        <p:nvSpPr>
          <p:cNvPr id="8" name="Content Placeholder 7">
            <a:extLst>
              <a:ext uri="{FF2B5EF4-FFF2-40B4-BE49-F238E27FC236}">
                <a16:creationId xmlns:a16="http://schemas.microsoft.com/office/drawing/2014/main" id="{9485DBD3-EABC-311B-D82C-9967803F1D59}"/>
              </a:ext>
            </a:extLst>
          </p:cNvPr>
          <p:cNvSpPr>
            <a:spLocks noGrp="1"/>
          </p:cNvSpPr>
          <p:nvPr>
            <p:ph sz="quarter" idx="22"/>
          </p:nvPr>
        </p:nvSpPr>
        <p:spPr>
          <a:xfrm>
            <a:off x="6456362" y="3078178"/>
            <a:ext cx="4770000" cy="3171810"/>
          </a:xfrm>
        </p:spPr>
        <p:txBody>
          <a:bodyPr>
            <a:normAutofit/>
          </a:bodyPr>
          <a:lstStyle/>
          <a:p>
            <a:r>
              <a:rPr lang="en-US" dirty="0"/>
              <a:t>Purpose of the Variables:</a:t>
            </a:r>
          </a:p>
          <a:p>
            <a:pPr marL="285750" indent="-285750">
              <a:buFont typeface="Arial" panose="020B0604020202020204" pitchFamily="34" charset="0"/>
              <a:buChar char="•"/>
            </a:pPr>
            <a:r>
              <a:rPr lang="en-US" dirty="0"/>
              <a:t>The variables were selected to examine the relationship between seat allocation and factors like seasonality, frequency, capacity, and route distanc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CA202F7-2C8C-6680-195C-796445480511}"/>
              </a:ext>
            </a:extLst>
          </p:cNvPr>
          <p:cNvSpPr>
            <a:spLocks noGrp="1"/>
          </p:cNvSpPr>
          <p:nvPr>
            <p:ph type="subTitle" idx="1"/>
          </p:nvPr>
        </p:nvSpPr>
        <p:spPr>
          <a:xfrm>
            <a:off x="968991" y="1299275"/>
            <a:ext cx="10492696" cy="664797"/>
          </a:xfrm>
        </p:spPr>
        <p:txBody>
          <a:bodyPr/>
          <a:lstStyle/>
          <a:p>
            <a:r>
              <a:rPr lang="en-US" dirty="0"/>
              <a:t>Provides insight into the frequency and spread of airline capacities across different operations</a:t>
            </a:r>
          </a:p>
        </p:txBody>
      </p:sp>
      <p:sp>
        <p:nvSpPr>
          <p:cNvPr id="6" name="Title 5">
            <a:extLst>
              <a:ext uri="{FF2B5EF4-FFF2-40B4-BE49-F238E27FC236}">
                <a16:creationId xmlns:a16="http://schemas.microsoft.com/office/drawing/2014/main" id="{3DD3851B-270D-9D04-AEF2-B97DEE199C7D}"/>
              </a:ext>
            </a:extLst>
          </p:cNvPr>
          <p:cNvSpPr>
            <a:spLocks noGrp="1"/>
          </p:cNvSpPr>
          <p:nvPr>
            <p:ph type="title"/>
          </p:nvPr>
        </p:nvSpPr>
        <p:spPr>
          <a:xfrm>
            <a:off x="968991" y="755176"/>
            <a:ext cx="10492696" cy="484188"/>
          </a:xfrm>
        </p:spPr>
        <p:txBody>
          <a:bodyPr/>
          <a:lstStyle/>
          <a:p>
            <a:r>
              <a:rPr lang="en-US" dirty="0">
                <a:solidFill>
                  <a:srgbClr val="513777"/>
                </a:solidFill>
              </a:rPr>
              <a:t>Histogram and Analysis of Operating Airline Capacity</a:t>
            </a:r>
          </a:p>
        </p:txBody>
      </p:sp>
      <p:sp>
        <p:nvSpPr>
          <p:cNvPr id="7" name="Content Placeholder 6">
            <a:extLst>
              <a:ext uri="{FF2B5EF4-FFF2-40B4-BE49-F238E27FC236}">
                <a16:creationId xmlns:a16="http://schemas.microsoft.com/office/drawing/2014/main" id="{CF7C9659-B324-6CA3-BFB8-7464C760EE1F}"/>
              </a:ext>
            </a:extLst>
          </p:cNvPr>
          <p:cNvSpPr>
            <a:spLocks noGrp="1"/>
          </p:cNvSpPr>
          <p:nvPr>
            <p:ph sz="quarter" idx="15"/>
          </p:nvPr>
        </p:nvSpPr>
        <p:spPr>
          <a:xfrm>
            <a:off x="968375" y="2362953"/>
            <a:ext cx="4770000" cy="4046899"/>
          </a:xfrm>
        </p:spPr>
        <p:txBody>
          <a:bodyPr>
            <a:normAutofit fontScale="40000" lnSpcReduction="20000"/>
          </a:bodyPr>
          <a:lstStyle/>
          <a:p>
            <a:pPr marL="342900" marR="0" lvl="0" indent="-342900">
              <a:lnSpc>
                <a:spcPct val="115000"/>
              </a:lnSpc>
              <a:spcBef>
                <a:spcPts val="0"/>
              </a:spcBef>
              <a:spcAft>
                <a:spcPts val="0"/>
              </a:spcAft>
              <a:buFont typeface="Symbol" panose="05050102010706020507" pitchFamily="18" charset="2"/>
              <a:buChar char=""/>
            </a:pPr>
            <a:r>
              <a:rPr lang="en-US" sz="3300" kern="100" dirty="0">
                <a:effectLst/>
                <a:ea typeface="Aptos" panose="020B0004020202020204" pitchFamily="34" charset="0"/>
                <a:cs typeface="Times New Roman" panose="02020603050405020304" pitchFamily="18" charset="0"/>
              </a:rPr>
              <a:t>Descriptive Statistics:</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Mean: 5,124.37 pax</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Mode: 1,500 pax</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Standard Deviation: 8,376.21</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Min: 0 pax</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a typeface="Aptos" panose="020B0004020202020204" pitchFamily="34" charset="0"/>
                <a:cs typeface="Times New Roman" panose="02020603050405020304" pitchFamily="18" charset="0"/>
              </a:rPr>
              <a:t>Max: 44,000 pax</a:t>
            </a:r>
            <a:endParaRPr lang="en-US" sz="33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endParaRPr lang="en-US" sz="33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3300" kern="100" dirty="0">
                <a:effectLst/>
                <a:ea typeface="Aptos" panose="020B0004020202020204" pitchFamily="34" charset="0"/>
                <a:cs typeface="Times New Roman" panose="02020603050405020304" pitchFamily="18" charset="0"/>
              </a:rPr>
              <a:t>Outliers:</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Upper Bound: 15,540 pax </a:t>
            </a:r>
          </a:p>
          <a:p>
            <a:pPr marL="742950" marR="0" lvl="1" indent="-285750">
              <a:lnSpc>
                <a:spcPct val="115000"/>
              </a:lnSpc>
              <a:spcBef>
                <a:spcPts val="0"/>
              </a:spcBef>
              <a:spcAft>
                <a:spcPts val="0"/>
              </a:spcAft>
              <a:buFont typeface="Courier New" panose="02070309020205020404" pitchFamily="49" charset="0"/>
              <a:buChar char="o"/>
            </a:pPr>
            <a:r>
              <a:rPr lang="en-US" sz="3300" kern="100" dirty="0">
                <a:ea typeface="Aptos" panose="020B0004020202020204" pitchFamily="34" charset="0"/>
                <a:cs typeface="Times New Roman" panose="02020603050405020304" pitchFamily="18" charset="0"/>
              </a:rPr>
              <a:t>Routes with capacity above this limit might represent routes that utilize high-capacity aircraft or special routes.</a:t>
            </a:r>
            <a:endParaRPr lang="en-US" sz="33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endParaRPr lang="en-US" sz="33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3300" kern="100" dirty="0">
                <a:effectLst/>
                <a:ea typeface="Aptos" panose="020B0004020202020204" pitchFamily="34" charset="0"/>
                <a:cs typeface="Times New Roman" panose="02020603050405020304" pitchFamily="18" charset="0"/>
              </a:rPr>
              <a:t>Interpretation:</a:t>
            </a:r>
          </a:p>
          <a:p>
            <a:pPr marL="742950" marR="0" lvl="1" indent="-285750">
              <a:lnSpc>
                <a:spcPct val="115000"/>
              </a:lnSpc>
              <a:spcBef>
                <a:spcPts val="0"/>
              </a:spcBef>
              <a:spcAft>
                <a:spcPts val="800"/>
              </a:spcAft>
              <a:buFont typeface="Courier New" panose="02070309020205020404" pitchFamily="49" charset="0"/>
              <a:buChar char="o"/>
            </a:pPr>
            <a:r>
              <a:rPr lang="en-US" sz="3300" kern="100" dirty="0">
                <a:effectLst/>
                <a:ea typeface="Aptos" panose="020B0004020202020204" pitchFamily="34" charset="0"/>
                <a:cs typeface="Times New Roman" panose="02020603050405020304" pitchFamily="18" charset="0"/>
              </a:rPr>
              <a:t>This histogram shows a right-skewed distribution, with most operations having low operating capacities. This suggests that the Canadian aviation market may have a significant number of small-capacity flights, likely due to regional or short-haul routes.</a:t>
            </a:r>
            <a:endParaRPr lang="en-US" dirty="0"/>
          </a:p>
        </p:txBody>
      </p:sp>
      <p:pic>
        <p:nvPicPr>
          <p:cNvPr id="10" name="Content Placeholder 9" descr="A graph of a flight capacity&#10;&#10;Description automatically generated with medium confidence">
            <a:extLst>
              <a:ext uri="{FF2B5EF4-FFF2-40B4-BE49-F238E27FC236}">
                <a16:creationId xmlns:a16="http://schemas.microsoft.com/office/drawing/2014/main" id="{371DCACE-2B30-B780-2C8C-FC2859FA5A16}"/>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982159" y="2227153"/>
            <a:ext cx="5579619" cy="3621386"/>
          </a:xfrm>
        </p:spPr>
      </p:pic>
    </p:spTree>
    <p:extLst>
      <p:ext uri="{BB962C8B-B14F-4D97-AF65-F5344CB8AC3E}">
        <p14:creationId xmlns:p14="http://schemas.microsoft.com/office/powerpoint/2010/main" val="3945177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CA202F7-2C8C-6680-195C-796445480511}"/>
              </a:ext>
            </a:extLst>
          </p:cNvPr>
          <p:cNvSpPr>
            <a:spLocks noGrp="1"/>
          </p:cNvSpPr>
          <p:nvPr>
            <p:ph type="subTitle" idx="1"/>
          </p:nvPr>
        </p:nvSpPr>
        <p:spPr>
          <a:xfrm>
            <a:off x="968991" y="1299275"/>
            <a:ext cx="10492696" cy="332399"/>
          </a:xfrm>
        </p:spPr>
        <p:txBody>
          <a:bodyPr/>
          <a:lstStyle/>
          <a:p>
            <a:r>
              <a:rPr lang="en-US" dirty="0"/>
              <a:t>Reveals patterns in flight frequency across different operations</a:t>
            </a:r>
          </a:p>
        </p:txBody>
      </p:sp>
      <p:sp>
        <p:nvSpPr>
          <p:cNvPr id="6" name="Title 5">
            <a:extLst>
              <a:ext uri="{FF2B5EF4-FFF2-40B4-BE49-F238E27FC236}">
                <a16:creationId xmlns:a16="http://schemas.microsoft.com/office/drawing/2014/main" id="{3DD3851B-270D-9D04-AEF2-B97DEE199C7D}"/>
              </a:ext>
            </a:extLst>
          </p:cNvPr>
          <p:cNvSpPr>
            <a:spLocks noGrp="1"/>
          </p:cNvSpPr>
          <p:nvPr>
            <p:ph type="title"/>
          </p:nvPr>
        </p:nvSpPr>
        <p:spPr>
          <a:xfrm>
            <a:off x="968991" y="755176"/>
            <a:ext cx="10492696" cy="484188"/>
          </a:xfrm>
        </p:spPr>
        <p:txBody>
          <a:bodyPr/>
          <a:lstStyle/>
          <a:p>
            <a:r>
              <a:rPr lang="en-US" dirty="0">
                <a:solidFill>
                  <a:srgbClr val="513777"/>
                </a:solidFill>
              </a:rPr>
              <a:t>Histogram and Analysis of Departure Count</a:t>
            </a:r>
          </a:p>
        </p:txBody>
      </p:sp>
      <p:sp>
        <p:nvSpPr>
          <p:cNvPr id="7" name="Content Placeholder 6">
            <a:extLst>
              <a:ext uri="{FF2B5EF4-FFF2-40B4-BE49-F238E27FC236}">
                <a16:creationId xmlns:a16="http://schemas.microsoft.com/office/drawing/2014/main" id="{CF7C9659-B324-6CA3-BFB8-7464C760EE1F}"/>
              </a:ext>
            </a:extLst>
          </p:cNvPr>
          <p:cNvSpPr>
            <a:spLocks noGrp="1"/>
          </p:cNvSpPr>
          <p:nvPr>
            <p:ph sz="quarter" idx="15"/>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Descriptive Statistic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ean: 21.12 Departure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ode: 1 Departure</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Standard Deviation: 45.56</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in: 0</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ax: 583</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Outlier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Upper Bound: 87.5</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Routes with more than 87 departures are most likely high demand routes or hubs that have high frequency of service</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Interpretation:</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histogram for DepCount reveals a concentration of low-departure frequencies, with a few instances of high-departure counts. This skewed distribution indicates that most routes have limited frequency, but a few high-demand routes see more frequent service.</a:t>
            </a:r>
          </a:p>
          <a:p>
            <a:pPr marR="0" lvl="0">
              <a:lnSpc>
                <a:spcPct val="115000"/>
              </a:lnSpc>
              <a:spcBef>
                <a:spcPts val="0"/>
              </a:spcBef>
              <a:spcAft>
                <a:spcPts val="0"/>
              </a:spcAft>
            </a:pPr>
            <a:endParaRPr lang="en-US" dirty="0"/>
          </a:p>
        </p:txBody>
      </p:sp>
      <p:pic>
        <p:nvPicPr>
          <p:cNvPr id="12" name="Content Placeholder 11" descr="A graph of a number of blue squares&#10;&#10;Description automatically generated">
            <a:extLst>
              <a:ext uri="{FF2B5EF4-FFF2-40B4-BE49-F238E27FC236}">
                <a16:creationId xmlns:a16="http://schemas.microsoft.com/office/drawing/2014/main" id="{B41DEFEA-E95C-EB03-1AD5-68BBC755E0FA}"/>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904497" y="2172832"/>
            <a:ext cx="5677055" cy="3711920"/>
          </a:xfrm>
        </p:spPr>
      </p:pic>
    </p:spTree>
    <p:extLst>
      <p:ext uri="{BB962C8B-B14F-4D97-AF65-F5344CB8AC3E}">
        <p14:creationId xmlns:p14="http://schemas.microsoft.com/office/powerpoint/2010/main" val="2025177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CA202F7-2C8C-6680-195C-796445480511}"/>
              </a:ext>
            </a:extLst>
          </p:cNvPr>
          <p:cNvSpPr>
            <a:spLocks noGrp="1"/>
          </p:cNvSpPr>
          <p:nvPr>
            <p:ph type="subTitle" idx="1"/>
          </p:nvPr>
        </p:nvSpPr>
        <p:spPr>
          <a:xfrm>
            <a:off x="968991" y="1299275"/>
            <a:ext cx="10492696" cy="664797"/>
          </a:xfrm>
        </p:spPr>
        <p:txBody>
          <a:bodyPr/>
          <a:lstStyle/>
          <a:p>
            <a:r>
              <a:rPr lang="en-US" dirty="0"/>
              <a:t>Provides insight into the prevalence of short-haul vs. long-haul operations</a:t>
            </a:r>
          </a:p>
        </p:txBody>
      </p:sp>
      <p:sp>
        <p:nvSpPr>
          <p:cNvPr id="6" name="Title 5">
            <a:extLst>
              <a:ext uri="{FF2B5EF4-FFF2-40B4-BE49-F238E27FC236}">
                <a16:creationId xmlns:a16="http://schemas.microsoft.com/office/drawing/2014/main" id="{3DD3851B-270D-9D04-AEF2-B97DEE199C7D}"/>
              </a:ext>
            </a:extLst>
          </p:cNvPr>
          <p:cNvSpPr>
            <a:spLocks noGrp="1"/>
          </p:cNvSpPr>
          <p:nvPr>
            <p:ph type="title"/>
          </p:nvPr>
        </p:nvSpPr>
        <p:spPr>
          <a:xfrm>
            <a:off x="968991" y="755176"/>
            <a:ext cx="10492696" cy="484188"/>
          </a:xfrm>
        </p:spPr>
        <p:txBody>
          <a:bodyPr/>
          <a:lstStyle/>
          <a:p>
            <a:r>
              <a:rPr lang="en-US" dirty="0">
                <a:solidFill>
                  <a:srgbClr val="513777"/>
                </a:solidFill>
              </a:rPr>
              <a:t>Histogram and Analysis of Distance</a:t>
            </a:r>
          </a:p>
        </p:txBody>
      </p:sp>
      <p:sp>
        <p:nvSpPr>
          <p:cNvPr id="7" name="Content Placeholder 6">
            <a:extLst>
              <a:ext uri="{FF2B5EF4-FFF2-40B4-BE49-F238E27FC236}">
                <a16:creationId xmlns:a16="http://schemas.microsoft.com/office/drawing/2014/main" id="{CF7C9659-B324-6CA3-BFB8-7464C760EE1F}"/>
              </a:ext>
            </a:extLst>
          </p:cNvPr>
          <p:cNvSpPr>
            <a:spLocks noGrp="1"/>
          </p:cNvSpPr>
          <p:nvPr>
            <p:ph sz="quarter" idx="15"/>
          </p:nvPr>
        </p:nvSpPr>
        <p:spPr/>
        <p:txBody>
          <a:bodyPr>
            <a:normAutofit lnSpcReduction="10000"/>
          </a:bodyPr>
          <a:lstStyle/>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Descriptive Statistic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ean:</a:t>
            </a:r>
            <a:r>
              <a:rPr lang="en-US" sz="1200" kern="100" dirty="0">
                <a:ea typeface="Aptos" panose="020B0004020202020204" pitchFamily="34" charset="0"/>
                <a:cs typeface="Times New Roman" panose="02020603050405020304" pitchFamily="18" charset="0"/>
              </a:rPr>
              <a:t> 972.35k m</a:t>
            </a:r>
            <a:endParaRPr lang="en-US" sz="1200" kern="100" dirty="0">
              <a:effectLst/>
              <a:ea typeface="Aptos" panose="020B0004020202020204" pitchFamily="34" charset="0"/>
              <a:cs typeface="Times New Roman" panose="02020603050405020304" pitchFamily="18" charset="0"/>
            </a:endParaRP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ode: 500 km</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Standard Deviation: 1,120.87</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in: 0 km</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ax: 4,710 km</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Outlier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Upper bound: 2,350 km</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se routes could represent special long-haul routes or international operations that differ significantly from most short-haul flights in the dataset. If included in general analyses, these outliers could overestimate average flight distance.</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Interpretation:</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distance histogram is right-skewed, with a high frequency of shorter flights. This aligns with the nature of the Canadian market, where regional or short-haul flights are more common than long-haul operations.</a:t>
            </a:r>
          </a:p>
          <a:p>
            <a:endParaRPr lang="en-US" dirty="0"/>
          </a:p>
        </p:txBody>
      </p:sp>
      <p:pic>
        <p:nvPicPr>
          <p:cNvPr id="12" name="Content Placeholder 11" descr="A graph of a distance&#10;&#10;Description automatically generated">
            <a:extLst>
              <a:ext uri="{FF2B5EF4-FFF2-40B4-BE49-F238E27FC236}">
                <a16:creationId xmlns:a16="http://schemas.microsoft.com/office/drawing/2014/main" id="{2129DED9-9B0E-D5AB-49A2-3FF42FE4FB68}"/>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835961" y="2023983"/>
            <a:ext cx="5734872" cy="3832437"/>
          </a:xfrm>
        </p:spPr>
      </p:pic>
    </p:spTree>
    <p:extLst>
      <p:ext uri="{BB962C8B-B14F-4D97-AF65-F5344CB8AC3E}">
        <p14:creationId xmlns:p14="http://schemas.microsoft.com/office/powerpoint/2010/main" val="3355106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CA202F7-2C8C-6680-195C-796445480511}"/>
              </a:ext>
            </a:extLst>
          </p:cNvPr>
          <p:cNvSpPr>
            <a:spLocks noGrp="1"/>
          </p:cNvSpPr>
          <p:nvPr>
            <p:ph type="subTitle" idx="1"/>
          </p:nvPr>
        </p:nvSpPr>
        <p:spPr>
          <a:xfrm>
            <a:off x="968991" y="1299275"/>
            <a:ext cx="10492696" cy="664797"/>
          </a:xfrm>
        </p:spPr>
        <p:txBody>
          <a:bodyPr/>
          <a:lstStyle/>
          <a:p>
            <a:r>
              <a:rPr lang="en-US" dirty="0"/>
              <a:t>Displays the distribution of Seats per Operation, showing the frequency of various seat counts</a:t>
            </a:r>
          </a:p>
        </p:txBody>
      </p:sp>
      <p:sp>
        <p:nvSpPr>
          <p:cNvPr id="6" name="Title 5">
            <a:extLst>
              <a:ext uri="{FF2B5EF4-FFF2-40B4-BE49-F238E27FC236}">
                <a16:creationId xmlns:a16="http://schemas.microsoft.com/office/drawing/2014/main" id="{3DD3851B-270D-9D04-AEF2-B97DEE199C7D}"/>
              </a:ext>
            </a:extLst>
          </p:cNvPr>
          <p:cNvSpPr>
            <a:spLocks noGrp="1"/>
          </p:cNvSpPr>
          <p:nvPr>
            <p:ph type="title"/>
          </p:nvPr>
        </p:nvSpPr>
        <p:spPr>
          <a:xfrm>
            <a:off x="968991" y="755176"/>
            <a:ext cx="10492696" cy="484188"/>
          </a:xfrm>
        </p:spPr>
        <p:txBody>
          <a:bodyPr/>
          <a:lstStyle/>
          <a:p>
            <a:r>
              <a:rPr lang="en-US" dirty="0">
                <a:solidFill>
                  <a:srgbClr val="513777"/>
                </a:solidFill>
              </a:rPr>
              <a:t>Histogram and Analysis of Seats per Operation</a:t>
            </a:r>
          </a:p>
        </p:txBody>
      </p:sp>
      <p:sp>
        <p:nvSpPr>
          <p:cNvPr id="7" name="Content Placeholder 6">
            <a:extLst>
              <a:ext uri="{FF2B5EF4-FFF2-40B4-BE49-F238E27FC236}">
                <a16:creationId xmlns:a16="http://schemas.microsoft.com/office/drawing/2014/main" id="{CF7C9659-B324-6CA3-BFB8-7464C760EE1F}"/>
              </a:ext>
            </a:extLst>
          </p:cNvPr>
          <p:cNvSpPr>
            <a:spLocks noGrp="1"/>
          </p:cNvSpPr>
          <p:nvPr>
            <p:ph sz="quarter" idx="15"/>
          </p:nvPr>
        </p:nvSpPr>
        <p:spPr/>
        <p:txBody>
          <a:bodyPr>
            <a:normAutofit lnSpcReduction="10000"/>
          </a:bodyPr>
          <a:lstStyle/>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Descriptive Statistic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ean: 110 seat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ode: 78 seat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Standard Deviation: 72.45</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in: 0 seat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ax: 450 seats</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Outlier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Upper bound: 260 seat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Operations with seat counts over 260</a:t>
            </a:r>
            <a:r>
              <a:rPr lang="en-US" sz="1200" kern="100" dirty="0">
                <a:ea typeface="Aptos" panose="020B0004020202020204" pitchFamily="34" charset="0"/>
                <a:cs typeface="Times New Roman" panose="02020603050405020304" pitchFamily="18" charset="0"/>
              </a:rPr>
              <a:t>, </a:t>
            </a:r>
            <a:r>
              <a:rPr lang="en-US" sz="1200" kern="100" dirty="0">
                <a:effectLst/>
                <a:ea typeface="Aptos" panose="020B0004020202020204" pitchFamily="34" charset="0"/>
                <a:cs typeface="Times New Roman" panose="02020603050405020304" pitchFamily="18" charset="0"/>
              </a:rPr>
              <a:t>likely representing larger aircraft or high-demand flights. These outliers could inflate the average seat count if not handled carefully in analyses focused on typical flight operations.</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Interpretation:</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is histogram shows that most operations have fewer seats, with a right-skewed distribution. The small number of high-seat operations may represent flights with larger aircraft used on high demand or long-haul routes.</a:t>
            </a:r>
          </a:p>
          <a:p>
            <a:endParaRPr lang="en-US" dirty="0"/>
          </a:p>
        </p:txBody>
      </p:sp>
      <p:pic>
        <p:nvPicPr>
          <p:cNvPr id="12" name="Content Placeholder 11" descr="A graph of seats per operation&#10;&#10;Description automatically generated">
            <a:extLst>
              <a:ext uri="{FF2B5EF4-FFF2-40B4-BE49-F238E27FC236}">
                <a16:creationId xmlns:a16="http://schemas.microsoft.com/office/drawing/2014/main" id="{7810189F-D032-27BC-45FD-67E2770AA800}"/>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846090" y="2238033"/>
            <a:ext cx="5806223" cy="3768461"/>
          </a:xfrm>
        </p:spPr>
      </p:pic>
    </p:spTree>
    <p:extLst>
      <p:ext uri="{BB962C8B-B14F-4D97-AF65-F5344CB8AC3E}">
        <p14:creationId xmlns:p14="http://schemas.microsoft.com/office/powerpoint/2010/main" val="4132164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CA202F7-2C8C-6680-195C-796445480511}"/>
              </a:ext>
            </a:extLst>
          </p:cNvPr>
          <p:cNvSpPr>
            <a:spLocks noGrp="1"/>
          </p:cNvSpPr>
          <p:nvPr>
            <p:ph type="subTitle" idx="1"/>
          </p:nvPr>
        </p:nvSpPr>
        <p:spPr>
          <a:xfrm>
            <a:off x="968991" y="1299275"/>
            <a:ext cx="10492696" cy="664797"/>
          </a:xfrm>
        </p:spPr>
        <p:txBody>
          <a:bodyPr/>
          <a:lstStyle/>
          <a:p>
            <a:r>
              <a:rPr lang="en-US" dirty="0"/>
              <a:t>Visualizes the monthly distribution of operations, highlighting any seasonal trends</a:t>
            </a:r>
          </a:p>
        </p:txBody>
      </p:sp>
      <p:sp>
        <p:nvSpPr>
          <p:cNvPr id="6" name="Title 5">
            <a:extLst>
              <a:ext uri="{FF2B5EF4-FFF2-40B4-BE49-F238E27FC236}">
                <a16:creationId xmlns:a16="http://schemas.microsoft.com/office/drawing/2014/main" id="{3DD3851B-270D-9D04-AEF2-B97DEE199C7D}"/>
              </a:ext>
            </a:extLst>
          </p:cNvPr>
          <p:cNvSpPr>
            <a:spLocks noGrp="1"/>
          </p:cNvSpPr>
          <p:nvPr>
            <p:ph type="title"/>
          </p:nvPr>
        </p:nvSpPr>
        <p:spPr>
          <a:xfrm>
            <a:off x="968991" y="755176"/>
            <a:ext cx="10492696" cy="484188"/>
          </a:xfrm>
        </p:spPr>
        <p:txBody>
          <a:bodyPr/>
          <a:lstStyle/>
          <a:p>
            <a:r>
              <a:rPr lang="en-US" dirty="0">
                <a:solidFill>
                  <a:srgbClr val="513777"/>
                </a:solidFill>
              </a:rPr>
              <a:t>Histogram and Analysis of Months</a:t>
            </a:r>
          </a:p>
        </p:txBody>
      </p:sp>
      <p:sp>
        <p:nvSpPr>
          <p:cNvPr id="7" name="Content Placeholder 6">
            <a:extLst>
              <a:ext uri="{FF2B5EF4-FFF2-40B4-BE49-F238E27FC236}">
                <a16:creationId xmlns:a16="http://schemas.microsoft.com/office/drawing/2014/main" id="{CF7C9659-B324-6CA3-BFB8-7464C760EE1F}"/>
              </a:ext>
            </a:extLst>
          </p:cNvPr>
          <p:cNvSpPr>
            <a:spLocks noGrp="1"/>
          </p:cNvSpPr>
          <p:nvPr>
            <p:ph sz="quarter" idx="15"/>
          </p:nvPr>
        </p:nvSpPr>
        <p:spPr/>
        <p:txBody>
          <a:bodyPr/>
          <a:lstStyle/>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Descriptive Statistic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Mode: August (7)</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Spread: Seasonal variability in operations.</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Outliers:</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is variable doesn’t have an outlier since you can operate outside of the 12-month year</a:t>
            </a:r>
          </a:p>
          <a:p>
            <a:pPr marL="742950" marR="0" lvl="1" indent="-285750">
              <a:lnSpc>
                <a:spcPct val="115000"/>
              </a:lnSpc>
              <a:spcBef>
                <a:spcPts val="0"/>
              </a:spcBef>
              <a:spcAft>
                <a:spcPts val="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Any months with noticeably higher or lower frequencies could indicate seasonal demand changes. For example, summer or holiday months might see spikes, while other times could see declines, affecting operational planning.</a:t>
            </a:r>
          </a:p>
          <a:p>
            <a:pPr marL="342900" marR="0" lvl="0" indent="-342900">
              <a:lnSpc>
                <a:spcPct val="115000"/>
              </a:lnSpc>
              <a:spcBef>
                <a:spcPts val="0"/>
              </a:spcBef>
              <a:spcAft>
                <a:spcPts val="0"/>
              </a:spcAft>
              <a:buFont typeface="Symbol" panose="05050102010706020507" pitchFamily="18" charset="2"/>
              <a:buChar char=""/>
            </a:pPr>
            <a:endParaRPr lang="en-US" sz="1200" kern="100" dirty="0">
              <a:effectLst/>
              <a:ea typeface="Aptos" panose="020B00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kern="100" dirty="0">
                <a:effectLst/>
                <a:ea typeface="Aptos" panose="020B0004020202020204" pitchFamily="34" charset="0"/>
                <a:cs typeface="Times New Roman" panose="02020603050405020304" pitchFamily="18" charset="0"/>
              </a:rPr>
              <a:t>Interpretation:</a:t>
            </a:r>
          </a:p>
          <a:p>
            <a:pPr marL="742950" marR="0" lvl="1" indent="-285750">
              <a:lnSpc>
                <a:spcPct val="115000"/>
              </a:lnSpc>
              <a:spcBef>
                <a:spcPts val="0"/>
              </a:spcBef>
              <a:spcAft>
                <a:spcPts val="800"/>
              </a:spcAft>
              <a:buFont typeface="Courier New" panose="02070309020205020404" pitchFamily="49" charset="0"/>
              <a:buChar char="o"/>
            </a:pPr>
            <a:r>
              <a:rPr lang="en-US" sz="1200" kern="100" dirty="0">
                <a:effectLst/>
                <a:ea typeface="Aptos" panose="020B0004020202020204" pitchFamily="34" charset="0"/>
                <a:cs typeface="Times New Roman" panose="02020603050405020304" pitchFamily="18" charset="0"/>
              </a:rPr>
              <a:t>The distribution across months is relatively consistent, suggesting steady aviation activity throughout the year. Any slight fluctuations could indicate seasonal trends but appear minimal in this dataset.</a:t>
            </a:r>
          </a:p>
          <a:p>
            <a:endParaRPr lang="en-US" dirty="0"/>
          </a:p>
        </p:txBody>
      </p:sp>
      <p:pic>
        <p:nvPicPr>
          <p:cNvPr id="12" name="Content Placeholder 11" descr="A graph of blue bars&#10;&#10;Description automatically generated">
            <a:extLst>
              <a:ext uri="{FF2B5EF4-FFF2-40B4-BE49-F238E27FC236}">
                <a16:creationId xmlns:a16="http://schemas.microsoft.com/office/drawing/2014/main" id="{DB50D063-12D7-A6C8-AACF-2B032C1EE384}"/>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963329" y="2023983"/>
            <a:ext cx="5729372" cy="3691036"/>
          </a:xfrm>
        </p:spPr>
      </p:pic>
    </p:spTree>
    <p:extLst>
      <p:ext uri="{BB962C8B-B14F-4D97-AF65-F5344CB8AC3E}">
        <p14:creationId xmlns:p14="http://schemas.microsoft.com/office/powerpoint/2010/main" val="2602062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A906E3A0-D971-0C4A-DC77-AF1B914040F6}"/>
              </a:ext>
            </a:extLst>
          </p:cNvPr>
          <p:cNvSpPr>
            <a:spLocks noGrp="1"/>
          </p:cNvSpPr>
          <p:nvPr>
            <p:ph type="subTitle" idx="1"/>
          </p:nvPr>
        </p:nvSpPr>
        <p:spPr>
          <a:xfrm>
            <a:off x="968991" y="1299275"/>
            <a:ext cx="10264581" cy="664797"/>
          </a:xfrm>
        </p:spPr>
        <p:txBody>
          <a:bodyPr/>
          <a:lstStyle/>
          <a:p>
            <a:r>
              <a:rPr lang="en-US" dirty="0"/>
              <a:t>PMF comparison for flights with high and low seats, based on median seat count</a:t>
            </a:r>
          </a:p>
        </p:txBody>
      </p:sp>
      <p:sp>
        <p:nvSpPr>
          <p:cNvPr id="6" name="Title 5">
            <a:extLst>
              <a:ext uri="{FF2B5EF4-FFF2-40B4-BE49-F238E27FC236}">
                <a16:creationId xmlns:a16="http://schemas.microsoft.com/office/drawing/2014/main" id="{ECBD53C5-9008-1F3A-8D42-A1CE3FA8811B}"/>
              </a:ext>
            </a:extLst>
          </p:cNvPr>
          <p:cNvSpPr>
            <a:spLocks noGrp="1"/>
          </p:cNvSpPr>
          <p:nvPr>
            <p:ph type="title"/>
          </p:nvPr>
        </p:nvSpPr>
        <p:spPr>
          <a:xfrm>
            <a:off x="968991" y="755176"/>
            <a:ext cx="10619445" cy="484188"/>
          </a:xfrm>
        </p:spPr>
        <p:txBody>
          <a:bodyPr/>
          <a:lstStyle/>
          <a:p>
            <a:r>
              <a:rPr lang="en-US" dirty="0">
                <a:solidFill>
                  <a:srgbClr val="513777"/>
                </a:solidFill>
              </a:rPr>
              <a:t>PMF of Seats per Operation: High vs Low Seats Flights</a:t>
            </a:r>
          </a:p>
        </p:txBody>
      </p:sp>
      <p:sp>
        <p:nvSpPr>
          <p:cNvPr id="7" name="Content Placeholder 6">
            <a:extLst>
              <a:ext uri="{FF2B5EF4-FFF2-40B4-BE49-F238E27FC236}">
                <a16:creationId xmlns:a16="http://schemas.microsoft.com/office/drawing/2014/main" id="{07AD9B62-1CC3-897F-6934-421DCF65CE3A}"/>
              </a:ext>
            </a:extLst>
          </p:cNvPr>
          <p:cNvSpPr>
            <a:spLocks noGrp="1"/>
          </p:cNvSpPr>
          <p:nvPr>
            <p:ph sz="quarter" idx="15"/>
          </p:nvPr>
        </p:nvSpPr>
        <p:spPr>
          <a:xfrm>
            <a:off x="968375" y="2661718"/>
            <a:ext cx="4770000" cy="3588270"/>
          </a:xfrm>
        </p:spPr>
        <p:txBody>
          <a:bodyPr/>
          <a:lstStyle/>
          <a:p>
            <a:r>
              <a:rPr lang="en-US" dirty="0"/>
              <a:t>The PMF comparison shows that low-seat flights have higher frequencies, while high-seat flights are less common. </a:t>
            </a:r>
          </a:p>
          <a:p>
            <a:r>
              <a:rPr lang="en-US" dirty="0"/>
              <a:t>This split suggests different operational categories—perhaps smaller aircraft for regional routes and larger aircraft for high demand and long-haul routes.</a:t>
            </a:r>
          </a:p>
        </p:txBody>
      </p:sp>
      <p:pic>
        <p:nvPicPr>
          <p:cNvPr id="10" name="Content Placeholder 9" descr="A graph of seats and seats&#10;&#10;Description automatically generated with medium confidence">
            <a:extLst>
              <a:ext uri="{FF2B5EF4-FFF2-40B4-BE49-F238E27FC236}">
                <a16:creationId xmlns:a16="http://schemas.microsoft.com/office/drawing/2014/main" id="{4A1AE968-60DA-73EE-EAC3-28B721BDAB63}"/>
              </a:ext>
            </a:extLst>
          </p:cNvPr>
          <p:cNvPicPr>
            <a:picLocks noGrp="1" noChangeAspect="1"/>
          </p:cNvPicPr>
          <p:nvPr>
            <p:ph sz="quarter" idx="22"/>
          </p:nvPr>
        </p:nvPicPr>
        <p:blipFill>
          <a:blip r:embed="rId2">
            <a:extLst>
              <a:ext uri="{28A0092B-C50C-407E-A947-70E740481C1C}">
                <a14:useLocalDpi xmlns:a14="http://schemas.microsoft.com/office/drawing/2010/main" val="0"/>
              </a:ext>
            </a:extLst>
          </a:blip>
          <a:stretch>
            <a:fillRect/>
          </a:stretch>
        </p:blipFill>
        <p:spPr>
          <a:xfrm>
            <a:off x="5738376" y="2661718"/>
            <a:ext cx="6011246" cy="2562485"/>
          </a:xfrm>
        </p:spPr>
      </p:pic>
    </p:spTree>
    <p:extLst>
      <p:ext uri="{BB962C8B-B14F-4D97-AF65-F5344CB8AC3E}">
        <p14:creationId xmlns:p14="http://schemas.microsoft.com/office/powerpoint/2010/main" val="253144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3"/>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40iHQ+orL1AsS2NCz12L6gEAAAAAAADAAAAAAADAAAAAwADAAMA////////BQAAAAMAEAALDAHfX92ev0qEZSjl76T1twQAAAABAAMAAAACAAMAAAAEAAMAAAAAAP///////wMAAAAAAP///////wQAAQD///////8FAAAABAAQAAttDmHLPTD6QZsmPb1RrmC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jSIdD6isvUCxLY0LPXYvqANEYXRhAFMAAAAIUHJlc2VudGF0aW9uU2Nhbm5lZEZvckxpbmtlZFNoYXBlcwAAAk51bWJlckZvcm1hdFNlcGFyYXRvck1vZGUACgAAAEF1dG9tYXRpYwAAAk5hbWUAJAAAAExpbmtlZFNoYXBlUHJlc2VudGF0aW9uU2V0dGluZ3NEYXRhABBWZXJzaW9uAAAAAAAJTGFzdFdyaXRlAALXEo2JAQAAAAEA/////4MAgwAAAAVfaWQAEAAAAAQMAd9f3Z6/SoRlKOXvpPW3A0RhdGEAGwAAAARMaW5rZWRTaGFwZURhdGEABQAAAAAAAk5hbWUAGQAAAExpbmtlZFNoYXBlc0RhdGFQcm9wZXJ0eQAQVmVyc2lvbgAAAAAACUxhc3RXcml0ZQD91hKNiQEAAAACAP////+DAIMAAAAFX2lkABAAAAAEbQ5hyz0w+kGbJj29Ua5giwNEYXRhABsAAAAETGlua2VkU2hhcGVEYXRhAAUAAAAAAAJOYW1lABkAAABMaW5rZWRTaGFwZXNEYXRhUHJvcGVydHkAEFZlcnNpb24AAQAAAAlMYXN0V3JpdGUAAdcSjYk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CAP///////wUAAAADAP///////wUAAAADAP///////////////////////////////////////////////////////////////////////////////////////////////////////////////////////////////////////////////////////////////////////////////////////////////////////////////////////////////////////////////////////////////////////////////////////////////////////////////////////////////////////////////////////////////////////////////////////////////////////////////////////////////////////////////////////////////////////////////wEAIAH///////////////8AAA7///////8FAAAABAD///////////////////////////////////////////////////////////////////////////////////////////////////////////////////////////////////////////////////////////////////////////////////////////////////////////////////////////////////////////////////////////////////////////////////////////////////////////////////////////////////////////////////////////////////////////////////////////////////////////////////////////////////////////////////////////////////////////////////////////////////////////////////////8CAAEBAwAAAAIA////////JQAGTGlua2VkU2hhcGVQcmVzZW50YXRpb25TZXR0aW5nc0RhdGFfMAQAAAAAAAUAAAAAAAUAAAADAAMAAwEDAAAAAwD///////8aAAZMaW5rZWRTaGFwZXNEYXRhUHJvcGVydHlfMAQAAAABAAUAAAACAAUAAAAEAAUAAAAAAP///////wUAAAAAAP///////wQAAQEDAAAABAD///////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58857696180348"/>
  <p:tag name="EMPOWERCHARTSPROPERTIES_A_LENGTH" val="24576"/>
  <p:tag name="COAUTHORING_SESSION_ID" val="68829725-448a-4094-8c5d-24d5dee56fc8"/>
  <p:tag name="UNDO_REDO_REVISION" val="443"/>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0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0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4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4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5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5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6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6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7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7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7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7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8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8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8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8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8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19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9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19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19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1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False"/>
  <p:tag name="MIO_SHOW_PAGENUMBER" val="False"/>
  <p:tag name="MIO_AVOID_BLANK_LAYOUT" val="True"/>
  <p:tag name="MIO_CD_LAYOUT_VALID_AREA" val="False"/>
  <p:tag name="MIO_EMBED_FONT" val="False"/>
  <p:tag name="MIO_MATCH_COLOR_SCHEME" val="True"/>
  <p:tag name="MIO_DBID" val="6BD84BD7-D4A5-4A4A-AFC0-31C2E770C613"/>
  <p:tag name="MIO_EKGUID" val="7da56090-939c-43de-a73c-24ce9d4bce0d"/>
  <p:tag name="MIO_FALLBACK_LAYOUT" val="8"/>
  <p:tag name="MIO_NUMBER_OF_VALID_LAYOUTS" val="89"/>
  <p:tag name="MIO_OBJECTNAME" val="Commercial Aviation 2024 - Accelerate Opportunity LITE"/>
  <p:tag name="MIO_VERSION" val="29.09.2024 22:45:29"/>
  <p:tag name="MIO_LASTDOWNLOADED" val="30.09.2024 08:40:28.186"/>
  <p:tag name="MIO_CONTENTTAG" val="YuCiNq8e3kugFXisszT4/g=="/>
  <p:tag name="MIO_CDID" val="f25be9bd-1050-4503-ac29-10ee6e70f39e"/>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0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0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0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0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0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0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2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1aaBjcbwHFBtPUYnaFF6c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BjcbwHFBtPUYnaFF6cEDRGF0YQAWAAAAAlBlcnNvbmFsSWQAAQAAAAAAAk5hbWUACwAAAFBlcnNvbmFsSWQAEFZlcnNpb24AAAAAAAlMYXN0V3JpdGUAUOVNI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6508578281725"/>
  <p:tag name="EMPOWERCHARTSPROPERTIES_A_LENGTH" val="24576"/>
  <p:tag name="RUNTIME_ID" val="46c914f4-352d-47ca-9016-e9c7da015a53"/>
</p:tagLst>
</file>

<file path=ppt/tags/tag222.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6.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1aaBjcbwHFBtPUYnaFF6c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BjcbwHFBtPUYnaFF6cEDRGF0YQAWAAAAAlBlcnNvbmFsSWQAAQAAAAAAAk5hbWUACwAAAFBlcnNvbmFsSWQAEFZlcnNpb24AAAAAAAlMYXN0V3JpdGUAUOVNI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6508578281725"/>
  <p:tag name="EMPOWERCHARTSPROPERTIES_A_LENGTH" val="24576"/>
  <p:tag name="RUNTIME_ID" val="46c914f4-352d-47ca-9016-e9c7da015a53"/>
</p:tagLst>
</file>

<file path=ppt/tags/tag2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1aaBjcbwHFBtPUYnaFF6c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BjcbwHFBtPUYnaFF6cEDRGF0YQAWAAAAAlBlcnNvbmFsSWQAAQAAAAAAAk5hbWUACwAAAFBlcnNvbmFsSWQAEFZlcnNpb24AAAAAAAlMYXN0V3JpdGUAUOVNI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6508578281725"/>
  <p:tag name="EMPOWERCHARTSPROPERTIES_A_LENGTH" val="24576"/>
  <p:tag name="RUNTIME_ID" val="46c914f4-352d-47ca-9016-e9c7da015a53"/>
</p:tagLst>
</file>

<file path=ppt/tags/tag232.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6.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2.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4.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6.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8.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250.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5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2.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0vBUwALS4xOksq212TWBKEEAAAAAAADAAAAAAADAAAAAwADAAEA////////BQAAAAMAEAALx1gJIQQ0DUaygMEDGG5NpAQAAAABAAMAAAACAAMAAAAEAAQAAgD///////8FAAAABAAQAAszzgSEc6j2SZlk6XodoMqo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8FTAAtLjE6SyrbXZNYEoQREYXRhAAUAAAAAAk5hbWUADQAAAExpbmtEYXRhTGlzdAAQVmVyc2lvbgAAAAAACUxhc3RXcml0ZQBfarAwkwEAAAABAP////9hAGEAAAAFX2lkABAAAAAEx1gJIQQ0DUaygMEDGG5NpAREYXRhAAUAAAAAAk5hbWUADQAAAExpbmtEYXRhTGlzdAAQVmVyc2lvbgABAAAACUxhc3RXcml0ZQBfarAwkwEAAAACAP////9wAHAAAAAFX2lkABAAAAAEM84EhHOo9kmZZOl6HaDKqANEYXRhABYAAAACUGVyc29uYWxJZAABAAAAAAACTmFtZQALAAAAUGVyc29uYWxJZAAQVmVyc2lvbgAAAAAACUxhc3RXcml0ZQB1arA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4882607823"/>
  <p:tag name="EMPOWERCHARTSPROPERTIES_B_LENGTH" val="24576"/>
  <p:tag name="DOWN_MIGRATION_INITIAL_LAYOUT_REQUIRED" val="9.2.99"/>
  <p:tag name="RUNTIME_ID" val="398bcddf-0a58-4ebf-bb51-05028a4db7e4"/>
</p:tagLst>
</file>

<file path=ppt/tags/tag2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Zm6SA12MVBqpuIC2FlxSAEAAAAAAADAAAAAAADAAAAAwADAAAAAAADAAAAAwADAAAAAAD///////8DAAIA////////BQAAAAMAEAALMgbINI9WN0WJKfIKZ7UclAQAAAABAAMAAAACAAMAAAAEAAMAAAACAAMAAAAEAAQAAgD///////8FAAAABAAQAAtBm7G5+jdQQoT8NJLWao0a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mbpIDXYxUGqm4gLYWXFIAREYXRhAAUAAAAAAk5hbWUADQAAAExpbmtEYXRhTGlzdAAQVmVyc2lvbgABAAAACUxhc3RXcml0ZQCkarAwkwEAAAABAP////9hAGEAAAAFX2lkABAAAAAEMgbINI9WN0WJKfIKZ7UclAREYXRhAAUAAAAAAk5hbWUADQAAAExpbmtEYXRhTGlzdAAQVmVyc2lvbgAAAAAACUxhc3RXcml0ZQCUarAwkwEAAAACAP////9wAHAAAAAFX2lkABAAAAAEQZuxufo3UEKE/DSS1mqNGgNEYXRhABYAAAACUGVyc29uYWxJZAABAAAAAAACTmFtZQALAAAAUGVyc29uYWxJZAAQVmVyc2lvbgAAAAAACUxhc3RXcml0ZQDJarA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4883515432"/>
  <p:tag name="EMPOWERCHARTSPROPERTIES_B_LENGTH" val="24576"/>
  <p:tag name="DOWN_MIGRATION_INITIAL_LAYOUT_REQUIRED" val="9.2.99"/>
  <p:tag name="RUNTIME_ID" val="7ef3ec14-2d7a-4023-b9c4-ff072f59ff96"/>
</p:tagLst>
</file>

<file path=ppt/tags/tag2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Zm6SA12MVBqpuIC2FlxSAEAAAAAAADAAAAAAADAAAAAwADAAAAAAADAAAAAwADAAAAAAD///////8DAAIA////////BQAAAAMAEAALMgbINI9WN0WJKfIKZ7UclAQAAAABAAMAAAACAAMAAAAEAAMAAAACAAMAAAAEAAQAAgD///////8FAAAABAAQAAtBm7G5+jdQQoT8NJLWao0a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mbpIDXYxUGqm4gLYWXFIAREYXRhAAUAAAAAAk5hbWUADQAAAExpbmtEYXRhTGlzdAAQVmVyc2lvbgABAAAACUxhc3RXcml0ZQCkarAwkwEAAAABAP////9hAGEAAAAFX2lkABAAAAAEMgbINI9WN0WJKfIKZ7UclAREYXRhAAUAAAAAAk5hbWUADQAAAExpbmtEYXRhTGlzdAAQVmVyc2lvbgAAAAAACUxhc3RXcml0ZQCUarAwkwEAAAACAP////9wAHAAAAAFX2lkABAAAAAEQZuxufo3UEKE/DSS1mqNGgNEYXRhABYAAAACUGVyc29uYWxJZAABAAAAAAACTmFtZQALAAAAUGVyc29uYWxJZAAQVmVyc2lvbgAAAAAACUxhc3RXcml0ZQDJarA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4883515432"/>
  <p:tag name="EMPOWERCHARTSPROPERTIES_B_LENGTH" val="24576"/>
  <p:tag name="DOWN_MIGRATION_INITIAL_LAYOUT_REQUIRED" val="9.2.99"/>
  <p:tag name="RUNTIME_ID" val="7ef3ec14-2d7a-4023-b9c4-ff072f59ff96"/>
</p:tagLst>
</file>

<file path=ppt/tags/tag2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YBAQEBAQEBAQEBAQEBAQMAAAAAAAAAAwAAAAMAAAAA/////wUAwgsAAAAAAAAAAAAAIAD///////////////8AAAD///////////////8DAAAAAgD///////8DAAAAAgD///////8DAAAAAgD///////8DAAAAAgD///////8DAAAAAwD///////////////////////////////////////////////////////////////////////////////////////////////////////////////////////////////////////////////////////////////////////////////////////////////////////////////////////////////////////////////////////////////////////////////////////////////////////////////////////////////////////////////////////////////////////////////////////////////////////////////////////////////////////////////8BACAA////////////////AAAO////////AwAAAAMA////////////////////////////////////////////////////////////////////////////////////////////////////////////////////////////////////////////////////////////////////////////////////////////////////////////////////////////////////////////////////////////////////////////////////////////////////////////////////////////////////////////////////////////////////////////////////////////////////////////////////////////////////////////////////////////////////////////////////////////////////////////////////////AgAEAP///////wUAAAACABAAC+h/g4vugnZFuE/ffBdFVcMEAAAAAAADAAAAAAADAAAABAADAAAAAAADAAAAAwADAAAAAAADAAAAAwADAAAAAAADAAAAAwADAAUA////////BQAAAAMAEAALClZFr7JFXUewcx2M9QCB0AQAAAABAAMAAAAEAAMAAAABAAMAAAACAP///////wMAAAACAP///////wMAAAACAP///////wMAAAAAAP///////wQAAQD///////8FAAAABAAQAAu3YhWV4aSzRKve6Wanpj0O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6H+Di+6CdkW4T998F0VVwwREYXRhAAUAAAAAAk5hbWUADQAAAExpbmtEYXRhTGlzdAAQVmVyc2lvbgAAAAAACUxhc3RXcml0ZQBWuq4wkwEAAAABAP////9hAGEAAAAFX2lkABAAAAAEClZFr7JFXUewcx2M9QCB0AREYXRhAAUAAAAAAk5hbWUADQAAAExpbmtEYXRhTGlzdAAQVmVyc2lvbgABAAAACUxhc3RXcml0ZQBuuq4wkwEAAAACAP////9wAHAAAAAFX2lkABAAAAAEt2IVleGks0Sr3ulmp6Y9DgNEYXRhABYAAAACUGVyc29uYWxJZAABAAAAAAACTmFtZQALAAAAUGVyc29uYWxJZAAQVmVyc2lvbgAAAAAACUxhc3RXcml0ZQDfuq4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CAP///////wUAAAACAP///////wUAAAACAP///////wUAAAACAP///////////////////////////////////////////////////////////////////////////////////////////////////////////////////////////////////////////////////////////////////////////////////////////////////////////////////////////////////////////////////////////////////////////////////////////////////////////////////////////////////////////////////////////////////////////////////////////////////////////////////////////////wEAIAH///////////////8AAA7///////8FAAAABAD///////////////////////////////////////////////////////////////////////////////////////////////////////////////////////////////////////////////////////////////////////////////////////////////////////////////////////////////////////////////////////////////////////////////////////////////////////////////////////////////////////////////////////////////////////////////////////////////////////////////////////////////////////////////////////////////////////////////////////////////////////////////////////8CAAYBAwAAAAIA////////DgAGTGlua0RhdGFMaXN0XzAEAAAAAAAFAAAAAAAFAAAAAwAFAAAAAAAFAAAAAwAFAAAAAAAFAAAAAwAFAAAAAAD///////8FAAAAAAD///////8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3777899949"/>
  <p:tag name="EMPOWERCHARTSPROPERTIES_B_LENGTH" val="24576"/>
  <p:tag name="DOWN_MIGRATION_INITIAL_LAYOUT_REQUIRED" val="9.2.99"/>
  <p:tag name="RUNTIME_ID" val="a10455da-3c77-44c2-b017-f6f151013753"/>
</p:tagLst>
</file>

<file path=ppt/tags/tag2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8s/OYgQ/9lPm/5CN7s4GTkEAAAAAAADAAAABAADAAAAAwADAAAABAD///////8DAAAAAAD///////8DAAAAAAD///////8DAAEA////////BQAAAAMAEAALFUUbvEg0EUakqNGVRoUK0wQAAAABAAMAAAACAAMAAAABAAQAAgD///////8FAAAABAAQAAsth6Iwm12QQpvl5Z9o9G3C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z85iBD/2U+b/kI3uzgZOQREYXRhAAUAAAAAAk5hbWUADQAAAExpbmtEYXRhTGlzdAAQVmVyc2lvbgAAAAAACUxhc3RXcml0ZQCQu64wkwEAAAABAP////9hAGEAAAAFX2lkABAAAAAEFUUbvEg0EUakqNGVRoUK0wREYXRhAAUAAAAAAk5hbWUADQAAAExpbmtEYXRhTGlzdAAQVmVyc2lvbgABAAAACUxhc3RXcml0ZQCQu64wkwEAAAACAP////9wAHAAAAAFX2lkABAAAAAELYeiMJtdkEKb5eWfaPRtwgNEYXRhABYAAAACUGVyc29uYWxJZAABAAAAAAACTmFtZQALAAAAUGVyc29uYWxJZAAQVmVyc2lvbgAAAAAACUxhc3RXcml0ZQCou64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EAIAH///////////////8AAA7///////8FAAAABAD///////////////////////////////////////////////////////////////////////////////////////////////////////////////////////////////////////////////////////////////////////////////////////////////////////////////////////////////////////////////////////////////////////////////////////////////////////////////////////////////////////////////////////////////////////////////////////////////////////////////////////////////////////////////////////////////////////////////////////////////////////////////////////8CAAQBAwAAAAIA////////DgAGTGlua0RhdGFMaXN0XzAEAAAAAAAFAAAAAAAFAAAAAwAFAAAAAAAFAAAABAAFAAAAAAD///////8FAAAAAAD///////8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3779799993"/>
  <p:tag name="EMPOWERCHARTSPROPERTIES_B_LENGTH" val="24576"/>
  <p:tag name="DOWN_MIGRATION_INITIAL_LAYOUT_REQUIRED" val="9.2.99"/>
  <p:tag name="RUNTIME_ID" val="aace4ce9-3f69-47b7-9af0-cdcf4f46c8d2"/>
</p:tagLst>
</file>

<file path=ppt/tags/tag2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wUA5gsAAAAAAAAAAAAAIAD///////////////8AAAD///////////////8DAAAAAgD///////8DAAAAAgD///////8DAAAABAD///////8DAAAABAD///////////////////////////////////////////////////////////////////////////////////////////////////////////////////////////////////////////////////////////////////////////////////////////////////////////////////////////////////////////////////////////////////////////////////////////////////////////////////////////////////////////////////////////////////////////////////////////////////////////////////////////////////////////////////////////////8BACAA////////////////AAAO////////AwAAAAMA////////////////////////////////////////////////////////////////////////////////////////////////////////////////////////////////////////////////////////////////////////////////////////////////////////////////////////////////////////////////////////////////////////////////////////////////////////////////////////////////////////////////////////////////////////////////////////////////////////////////////////////////////////////////////////////////////////////////////////////////////////////////////////AgACAP///////wUAAAACABAAC4ynyGGuuTpOnnvCniO1hGUEAAAAAAADAAAAAAADAAAABAADAAAAAAADAAAABAADAAEA////////BQAAAAMAEAALUJOeqf6yzkaeTv7d/1iStQQAAAABAAMAAAAEAAMAAAABAAQABAD///////8FAAAABAAQAAvImIOItly6S6mnPZ37xX22BAAAAAIAAwAAAAIAAwAAAAM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KfIYa65Ok6ee8KeI7WEZQREYXRhAAUAAAAAAk5hbWUADQAAAExpbmtEYXRhTGlzdAAQVmVyc2lvbgABAAAACUxhc3RXcml0ZQDTu64wkwEAAAABAP////9hAGEAAAAFX2lkABAAAAAEUJOeqf6yzkaeTv7d/1iStQREYXRhAAUAAAAAAk5hbWUADQAAAExpbmtEYXRhTGlzdAAQVmVyc2lvbgAAAAAACUxhc3RXcml0ZQDSu64wkwEAAAACAP////9wAHAAAAAFX2lkABAAAAAEyJiDiLZcukuppz2d+8V9tgNEYXRhABYAAAACUGVyc29uYWxJZAABAAAAAAACTmFtZQALAAAAUGVyc29uYWxJZAAQVmVyc2lvbgAAAAAACUxhc3RXcml0ZQDmu64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EAP///////////////////////////////////////////////////////////////////////////////////////////////////////////////////////////////////////////////////////////////////////////////////////////////////////////////////////////////////////////////////////////////////////////////////////////////////////////////////////////////////////////////////////////////////////////////////////////////////////////////////////////////////////////////////////////////////////////////wEAIAH///////////////8AAA7///////8FAAAABAD///////////////////////////////////////////////////////////////////////////////////////////////////////////////////////////////////////////////////////////////////////////////////////////////////////////////////////////////////////////////////////////////////////////////////////////////////////////////////////////////////////////////////////////////////////////////////////////////////////////////////////////////////////////////////////////////////////////////////////////////////////////////////////8CAAIBAwAAAAIA////////DgAGTGlua0RhdGFMaXN0XzEEAAAAAAAFAAAAAwAFAAAABAAFAAAAAAAFAAAABAADAAEBAwAAAAMA////////DgAGTGlua0RhdGFMaXN0XzAEAAAAAQ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3780429688"/>
  <p:tag name="EMPOWERCHARTSPROPERTIES_B_LENGTH" val="24576"/>
  <p:tag name="DOWN_MIGRATION_INITIAL_LAYOUT_REQUIRED" val="9.2.99"/>
  <p:tag name="RUNTIME_ID" val="db61cbac-285d-4853-9b7f-3c4cdbfa1b2b"/>
</p:tagLst>
</file>

<file path=ppt/tags/tag2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1tgjRvnLpRJm2piGZZUPF8EAAAAAAADAAAAAAADAAAAAwADAAAAAAD///////8DAAAAAAD///////8DAAAAAAD///////8DAAEA////////BQAAAAMAEAALeJr7HG7qE0SkD2pRa3VPWwQAAAABAAMAAAACAAMAAAAEAAQAAQD///////8FAAAABAAQAAszYM6J2M9qTKySX5PiX8o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2CNG+culEmbamIZllQ8XwREYXRhAAUAAAAAAk5hbWUADQAAAExpbmtEYXRhTGlzdAAQVmVyc2lvbgAAAAAACUxhc3RXcml0ZQAKvK4wkwEAAAABAP////9hAGEAAAAFX2lkABAAAAAEeJr7HG7qE0SkD2pRa3VPWwREYXRhAAUAAAAAAk5hbWUADQAAAExpbmtEYXRhTGlzdAAQVmVyc2lvbgABAAAACUxhc3RXcml0ZQALvK4wkwEAAAACAP////9wAHAAAAAFX2lkABAAAAAEM2DOidjPakyskl+T4l/KJANEYXRhABYAAAACUGVyc29uYWxJZAABAAAAAAACTmFtZQALAAAAUGVyc29uYWxJZAAQVmVyc2lvbgAAAAAACUxhc3RXcml0ZQAhvK4w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72853781009682"/>
  <p:tag name="EMPOWERCHARTSPROPERTIES_B_LENGTH" val="24576"/>
  <p:tag name="DOWN_MIGRATION_INITIAL_LAYOUT_REQUIRED" val="9.2.99"/>
  <p:tag name="RUNTIME_ID" val="bd376b4d-6070-45b2-85b0-876eb0d8aefa"/>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2lxJ/fPi1AiGwgqv4S7Ns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2lxJ/fPi1AiGwgqv4S7NsDRGF0YQAWAAAAAlBlcnNvbmFsSWQAAQAAAAAAAk5hbWUACwAAAFBlcnNvbmFsSWQAEFZlcnNpb24AAAAAAAlMYXN0V3JpdGUAjJr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2237587"/>
  <p:tag name="EMPOWERCHARTSPROPERTIES_A_LENGTH" val="24576"/>
  <p:tag name="RUNTIME_ID" val="d1551901-1af0-4d62-bac5-e4bd805ad428"/>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wkMsvf2nwVPsqkfOuIJAh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kMsvf2nwVPsqkfOuIJAhkDRGF0YQAWAAAAAlBlcnNvbmFsSWQAAQAAAAAAAk5hbWUACwAAAFBlcnNvbmFsSWQAEFZlcnNpb24AAAAAAAlMYXN0V3JpdGUAk5vx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0354357709"/>
  <p:tag name="EMPOWERCHARTSPROPERTIES_A_LENGTH" val="24576"/>
  <p:tag name="RUNTIME_ID" val="3c1b94d4-697d-4122-9ebb-fcf4ef347015"/>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4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56.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DY3ItdPQlNocgpInjzlQ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DY3ItdPQlNocgpInjzlQ8DRGF0YQAWAAAAAlBlcnNvbmFsSWQAAQAAAAAAAk5hbWUACwAAAFBlcnNvbmFsSWQAEFZlcnNpb24AAAAAAAlMYXN0V3JpdGUAr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8420204"/>
  <p:tag name="EMPOWERCHARTSPROPERTIES_A_LENGTH" val="24576"/>
  <p:tag name="RUNTIME_ID" val="b684da76-87f8-4a7c-8a12-08e1ad7c831e"/>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EbE7iOvXlGo5n7ZeNR+6o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EbE7iOvXlGo5n7ZeNR+6oDRGF0YQAWAAAAAlBlcnNvbmFsSWQAAQAAAAAAAk5hbWUACwAAAFBlcnNvbmFsSWQAEFZlcnNpb24AAAAAAAlMYXN0V3JpdGUA6SH0a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4932009131267"/>
  <p:tag name="EMPOWERCHARTSPROPERTIES_A_LENGTH" val="24576"/>
  <p:tag name="RUNTIME_ID" val="885a7eb3-b01a-4d51-999c-d49a4baae984"/>
</p:tagLst>
</file>

<file path=ppt/tags/tag6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7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7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8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9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3.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9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7.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USER_INPUT_REQUIRED" val="Embraer Compliance Options;"/>
  <p:tag name="MIO_USER_INPUT_OPTIONAL" val=" "/>
  <p:tag name="MIO_USER_INPUT_OPTIONS" val="CONFIDENTIAL INFORMATION | This information belongs to Embraer and cannot be used or reproduced without written permission from the Company.;PUBLIC INFORMATION | This information belongs to Embraer and cannot be used or reproduced without written permission from the Company.;PRIVATE INFORMATION | This information belongs to Embraer and cannot be used or reproduced without written permission from the Company.;SECRET INFORMATION | This information belongs to Embraer and cannot be used or reproduced without written permission from the Company."/>
  <p:tag name="MIO_GUID" val="1bc30f00-1910-4327-b207-e7bf4455d2c7"/>
  <p:tag name="MIO_EKGUID" val="bef1ab1b-d46c-4e8e-8691-85629b99fc43"/>
  <p:tag name="MIO_UPDATE" val="True"/>
  <p:tag name="MIO_VERSION" val="14.02.2023 00:10:34"/>
  <p:tag name="MIO_DBID" val="6BD84BD7-D4A5-4A4A-AFC0-31C2E770C613"/>
  <p:tag name="MIO_LASTDOWNLOADED" val="03.11.2023 20:49:18.979"/>
  <p:tag name="MIO_OBJECTNAME" val="Confidential Horizontal"/>
  <p:tag name="MIO_LASTEDITORNAME" val="empower enterprise"/>
</p:tagLst>
</file>

<file path=ppt/theme/theme1.xml><?xml version="1.0" encoding="utf-8"?>
<a:theme xmlns:a="http://schemas.openxmlformats.org/drawingml/2006/main" name="VPC.2024 - Standard slide LAYOUTS">
  <a:themeElements>
    <a:clrScheme name="Cmbraer Color Theme">
      <a:dk1>
        <a:srgbClr val="000000"/>
      </a:dk1>
      <a:lt1>
        <a:srgbClr val="FFFFFF"/>
      </a:lt1>
      <a:dk2>
        <a:srgbClr val="44546A"/>
      </a:dk2>
      <a:lt2>
        <a:srgbClr val="E7E6E6"/>
      </a:lt2>
      <a:accent1>
        <a:srgbClr val="004AE8"/>
      </a:accent1>
      <a:accent2>
        <a:srgbClr val="FFC003"/>
      </a:accent2>
      <a:accent3>
        <a:srgbClr val="807F7F"/>
      </a:accent3>
      <a:accent4>
        <a:srgbClr val="C9D6DB"/>
      </a:accent4>
      <a:accent5>
        <a:srgbClr val="75A0FF"/>
      </a:accent5>
      <a:accent6>
        <a:srgbClr val="ABC5FF"/>
      </a:accent6>
      <a:hlink>
        <a:srgbClr val="0563C1"/>
      </a:hlink>
      <a:folHlink>
        <a:srgbClr val="954F72"/>
      </a:folHlink>
    </a:clrScheme>
    <a:fontScheme name="Embrare Font Theme">
      <a:majorFont>
        <a:latin typeface="Arial Narrow"/>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rmAutofit/>
      </a:bodyPr>
      <a:lstStyle>
        <a:defPPr algn="l">
          <a:defRPr/>
        </a:defPPr>
      </a:lstStyle>
    </a:txDef>
  </a:objectDefaults>
  <a:extraClrSchemeLst/>
  <a:extLst>
    <a:ext uri="{05A4C25C-085E-4340-85A3-A5531E510DB2}">
      <thm15:themeFamily xmlns:thm15="http://schemas.microsoft.com/office/thememl/2012/main" name="Default Theme" id="{AD9BB841-4B5C-4929-94A4-E6AAE72F5AD1}" vid="{1B0226A7-BD86-4AC1-8FCE-E353A0C1E1FC}"/>
    </a:ext>
  </a:extLst>
</a:theme>
</file>

<file path=ppt/theme/theme2.xml><?xml version="1.0" encoding="utf-8"?>
<a:theme xmlns:a="http://schemas.openxmlformats.org/drawingml/2006/main" name="Office Theme">
  <a:themeElements>
    <a:clrScheme name="Cmbraer Color Theme">
      <a:dk1>
        <a:srgbClr val="000000"/>
      </a:dk1>
      <a:lt1>
        <a:srgbClr val="FFFFFF"/>
      </a:lt1>
      <a:dk2>
        <a:srgbClr val="44546A"/>
      </a:dk2>
      <a:lt2>
        <a:srgbClr val="E7E6E6"/>
      </a:lt2>
      <a:accent1>
        <a:srgbClr val="004AE8"/>
      </a:accent1>
      <a:accent2>
        <a:srgbClr val="FFC003"/>
      </a:accent2>
      <a:accent3>
        <a:srgbClr val="807F7F"/>
      </a:accent3>
      <a:accent4>
        <a:srgbClr val="C9D6DB"/>
      </a:accent4>
      <a:accent5>
        <a:srgbClr val="75A0FF"/>
      </a:accent5>
      <a:accent6>
        <a:srgbClr val="ABC5FF"/>
      </a:accent6>
      <a:hlink>
        <a:srgbClr val="0563C1"/>
      </a:hlink>
      <a:folHlink>
        <a:srgbClr val="954F72"/>
      </a:folHlink>
    </a:clrScheme>
    <a:fontScheme name="Embrare Font Theme">
      <a:majorFont>
        <a:latin typeface="Arial Narrow"/>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a:themeElements>
    <a:clrScheme name="Cmbraer Color Theme">
      <a:dk1>
        <a:srgbClr val="000000"/>
      </a:dk1>
      <a:lt1>
        <a:srgbClr val="FFFFFF"/>
      </a:lt1>
      <a:dk2>
        <a:srgbClr val="44546A"/>
      </a:dk2>
      <a:lt2>
        <a:srgbClr val="E7E6E6"/>
      </a:lt2>
      <a:accent1>
        <a:srgbClr val="004AE8"/>
      </a:accent1>
      <a:accent2>
        <a:srgbClr val="FFC003"/>
      </a:accent2>
      <a:accent3>
        <a:srgbClr val="807F7F"/>
      </a:accent3>
      <a:accent4>
        <a:srgbClr val="C9D6DB"/>
      </a:accent4>
      <a:accent5>
        <a:srgbClr val="75A0FF"/>
      </a:accent5>
      <a:accent6>
        <a:srgbClr val="ABC5FF"/>
      </a:accent6>
      <a:hlink>
        <a:srgbClr val="0563C1"/>
      </a:hlink>
      <a:folHlink>
        <a:srgbClr val="954F72"/>
      </a:folHlink>
    </a:clrScheme>
    <a:fontScheme name="Embrare Font Theme">
      <a:majorFont>
        <a:latin typeface="Arial Narrow"/>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48334AABDB0F84185AEF45C8475344B" ma:contentTypeVersion="23" ma:contentTypeDescription="Create a new document." ma:contentTypeScope="" ma:versionID="0eb5949c22935e084d3562458ef7b496">
  <xsd:schema xmlns:xsd="http://www.w3.org/2001/XMLSchema" xmlns:xs="http://www.w3.org/2001/XMLSchema" xmlns:p="http://schemas.microsoft.com/office/2006/metadata/properties" xmlns:ns2="931878c6-3b08-42d8-b71f-32073318acd2" xmlns:ns3="6ead747c-d6c9-412a-adfd-87d7f51e7cd1" xmlns:ns4="eaf0b856-2c19-4daa-b072-b3a0419a9355" targetNamespace="http://schemas.microsoft.com/office/2006/metadata/properties" ma:root="true" ma:fieldsID="6623bdfff890e1051a6563ed5c1cac04" ns2:_="" ns3:_="" ns4:_="">
    <xsd:import namespace="931878c6-3b08-42d8-b71f-32073318acd2"/>
    <xsd:import namespace="6ead747c-d6c9-412a-adfd-87d7f51e7cd1"/>
    <xsd:import namespace="eaf0b856-2c19-4daa-b072-b3a0419a935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878c6-3b08-42d8-b71f-32073318acd2" elementFormDefault="qualified">
    <xsd:import namespace="http://schemas.microsoft.com/office/2006/documentManagement/types"/>
    <xsd:import namespace="http://schemas.microsoft.com/office/infopath/2007/PartnerControls"/>
    <xsd:element name="SharedWithUsers" ma:index="4"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ead747c-d6c9-412a-adfd-87d7f51e7cd1" elementFormDefault="qualified">
    <xsd:import namespace="http://schemas.microsoft.com/office/2006/documentManagement/types"/>
    <xsd:import namespace="http://schemas.microsoft.com/office/infopath/2007/PartnerControls"/>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KeyPoints" ma:index="8" nillable="true" ma:displayName="MediaServiceAutoKeyPoints" ma:hidden="true" ma:internalName="MediaServiceAutoKeyPoints" ma:readOnly="true">
      <xsd:simpleType>
        <xsd:restriction base="dms:Note"/>
      </xsd:simpleType>
    </xsd:element>
    <xsd:element name="MediaServiceKeyPoints" ma:index="9" nillable="true" ma:displayName="KeyPoints" ma:internalName="MediaServiceKeyPoints" ma:readOnly="true">
      <xsd:simpleType>
        <xsd:restriction base="dms:Note">
          <xsd:maxLength value="255"/>
        </xsd:restriction>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Marcações de imagem" ma:readOnly="false" ma:fieldId="{5cf76f15-5ced-4ddc-b409-7134ff3c332f}" ma:taxonomyMulti="true" ma:sspId="aedba2bd-d135-4346-9f12-054bc8e651a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f0b856-2c19-4daa-b072-b3a0419a935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8630a49-3b10-4838-8c3f-3c49eccdcf7a}" ma:internalName="TaxCatchAll" ma:showField="CatchAllData" ma:web="eaf0b856-2c19-4daa-b072-b3a0419a93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Tipo de Conteúdo"/>
        <xsd:element ref="dc:title" minOccurs="0" maxOccurs="1" ma:index="3"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af0b856-2c19-4daa-b072-b3a0419a9355" xsi:nil="true"/>
    <lcf76f155ced4ddcb4097134ff3c332f xmlns="6ead747c-d6c9-412a-adfd-87d7f51e7cd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6EB160-DBD9-475B-9EF8-CED3BA926A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1878c6-3b08-42d8-b71f-32073318acd2"/>
    <ds:schemaRef ds:uri="6ead747c-d6c9-412a-adfd-87d7f51e7cd1"/>
    <ds:schemaRef ds:uri="eaf0b856-2c19-4daa-b072-b3a0419a93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0C11CF-8591-4860-86A9-7C206C163734}">
  <ds:schemaRefs>
    <ds:schemaRef ds:uri="http://schemas.microsoft.com/office/2006/metadata/properties"/>
    <ds:schemaRef ds:uri="931878c6-3b08-42d8-b71f-32073318acd2"/>
    <ds:schemaRef ds:uri="http://purl.org/dc/elements/1.1/"/>
    <ds:schemaRef ds:uri="http://www.w3.org/XML/1998/namespace"/>
    <ds:schemaRef ds:uri="http://schemas.openxmlformats.org/package/2006/metadata/core-properties"/>
    <ds:schemaRef ds:uri="http://purl.org/dc/terms/"/>
    <ds:schemaRef ds:uri="eaf0b856-2c19-4daa-b072-b3a0419a9355"/>
    <ds:schemaRef ds:uri="http://schemas.microsoft.com/office/2006/documentManagement/types"/>
    <ds:schemaRef ds:uri="6ead747c-d6c9-412a-adfd-87d7f51e7cd1"/>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19678697-30E6-4A13-AB9B-AC4B1FE4CC0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325</TotalTime>
  <Words>1322</Words>
  <Application>Microsoft Office PowerPoint</Application>
  <PresentationFormat>Widescreen</PresentationFormat>
  <Paragraphs>154</Paragraphs>
  <Slides>16</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6</vt:i4>
      </vt:variant>
    </vt:vector>
  </HeadingPairs>
  <TitlesOfParts>
    <vt:vector size="22" baseType="lpstr">
      <vt:lpstr>Aptos</vt:lpstr>
      <vt:lpstr>Arial</vt:lpstr>
      <vt:lpstr>Arial Narrow</vt:lpstr>
      <vt:lpstr>Courier New</vt:lpstr>
      <vt:lpstr>Symbol</vt:lpstr>
      <vt:lpstr>VPC.2024 - Standard slide LAYOUTS</vt:lpstr>
      <vt:lpstr>PowerPoint Presentation</vt:lpstr>
      <vt:lpstr>Analysis of the Canadian Aviation Market</vt:lpstr>
      <vt:lpstr>Dataset Overview and Key Variables</vt:lpstr>
      <vt:lpstr>Histogram and Analysis of Operating Airline Capacity</vt:lpstr>
      <vt:lpstr>Histogram and Analysis of Departure Count</vt:lpstr>
      <vt:lpstr>Histogram and Analysis of Distance</vt:lpstr>
      <vt:lpstr>Histogram and Analysis of Seats per Operation</vt:lpstr>
      <vt:lpstr>Histogram and Analysis of Months</vt:lpstr>
      <vt:lpstr>PMF of Seats per Operation: High vs Low Seats Flights</vt:lpstr>
      <vt:lpstr>CDF of Seats per Operation</vt:lpstr>
      <vt:lpstr>Seats per Operation - Fitted Normal Distribution</vt:lpstr>
      <vt:lpstr>Scatter Plot: Departure Count vs Seats per Operation</vt:lpstr>
      <vt:lpstr>Scatter Plot: Distance vs Seats per Operation</vt:lpstr>
      <vt:lpstr>Hypothesis Test on Seats per Operation</vt:lpstr>
      <vt:lpstr>Regression Analysis of DepCount and Seats per Operation</vt:lpstr>
      <vt:lpstr>PowerPoint Presentation</vt:lpstr>
    </vt:vector>
  </TitlesOfParts>
  <Company>Embra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ISELLE JACQUELINE DOS SANTOS</dc:creator>
  <cp:lastModifiedBy>GISELLE JACQUELINE DOS SANTOS</cp:lastModifiedBy>
  <cp:revision>1</cp:revision>
  <dcterms:created xsi:type="dcterms:W3CDTF">2024-11-14T01:27:00Z</dcterms:created>
  <dcterms:modified xsi:type="dcterms:W3CDTF">2024-11-16T15:3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d0459ad-4eb7-43ee-b2e0-a4f39d08f16c_Enabled">
    <vt:lpwstr>true</vt:lpwstr>
  </property>
  <property fmtid="{D5CDD505-2E9C-101B-9397-08002B2CF9AE}" pid="3" name="MSIP_Label_ad0459ad-4eb7-43ee-b2e0-a4f39d08f16c_SetDate">
    <vt:lpwstr>2023-01-30T12:26:24Z</vt:lpwstr>
  </property>
  <property fmtid="{D5CDD505-2E9C-101B-9397-08002B2CF9AE}" pid="4" name="MSIP_Label_ad0459ad-4eb7-43ee-b2e0-a4f39d08f16c_Method">
    <vt:lpwstr>Standard</vt:lpwstr>
  </property>
  <property fmtid="{D5CDD505-2E9C-101B-9397-08002B2CF9AE}" pid="5" name="MSIP_Label_ad0459ad-4eb7-43ee-b2e0-a4f39d08f16c_Name">
    <vt:lpwstr>Private</vt:lpwstr>
  </property>
  <property fmtid="{D5CDD505-2E9C-101B-9397-08002B2CF9AE}" pid="6" name="MSIP_Label_ad0459ad-4eb7-43ee-b2e0-a4f39d08f16c_SiteId">
    <vt:lpwstr>1b5ba8a2-315d-45ce-959a-42b748c01de7</vt:lpwstr>
  </property>
  <property fmtid="{D5CDD505-2E9C-101B-9397-08002B2CF9AE}" pid="7" name="MSIP_Label_ad0459ad-4eb7-43ee-b2e0-a4f39d08f16c_ActionId">
    <vt:lpwstr>8fe4fa52-df66-4d18-aadc-d3dad5254c20</vt:lpwstr>
  </property>
  <property fmtid="{D5CDD505-2E9C-101B-9397-08002B2CF9AE}" pid="8" name="MSIP_Label_ad0459ad-4eb7-43ee-b2e0-a4f39d08f16c_ContentBits">
    <vt:lpwstr>0</vt:lpwstr>
  </property>
  <property fmtid="{D5CDD505-2E9C-101B-9397-08002B2CF9AE}" pid="9" name="ContentTypeId">
    <vt:lpwstr>0x010100F48334AABDB0F84185AEF45C8475344B</vt:lpwstr>
  </property>
  <property fmtid="{D5CDD505-2E9C-101B-9397-08002B2CF9AE}" pid="10" name="MediaServiceImageTags">
    <vt:lpwstr/>
  </property>
</Properties>
</file>